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7.xml" ContentType="application/vnd.openxmlformats-officedocument.presentationml.notesSlide+xml"/>
  <Override PartName="/ppt/charts/chartEx1.xml" ContentType="application/vnd.ms-office.chartex+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8.xml" ContentType="application/vnd.openxmlformats-officedocument.presentationml.notesSlid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9.xml" ContentType="application/vnd.openxmlformats-officedocument.presentationml.notesSlid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0.xml" ContentType="application/vnd.openxmlformats-officedocument.presentationml.notesSlid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3.xml" ContentType="application/vnd.openxmlformats-officedocument.presentationml.notesSlid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4.xml" ContentType="application/vnd.openxmlformats-officedocument.presentationml.notesSlide+xml"/>
  <Override PartName="/ppt/charts/chart12.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2.xml" ContentType="application/vnd.openxmlformats-officedocument.themeOverride+xml"/>
  <Override PartName="/ppt/charts/chart13.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3.xml" ContentType="application/vnd.openxmlformats-officedocument.themeOverride+xml"/>
  <Override PartName="/ppt/charts/chart14.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4.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5.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5.xml" ContentType="application/vnd.openxmlformats-officedocument.themeOverride+xml"/>
  <Override PartName="/ppt/notesSlides/notesSlide17.xml" ContentType="application/vnd.openxmlformats-officedocument.presentationml.notesSlide+xml"/>
  <Override PartName="/ppt/charts/chart16.xml" ContentType="application/vnd.openxmlformats-officedocument.drawingml.chart+xml"/>
  <Override PartName="/ppt/charts/style17.xml" ContentType="application/vnd.ms-office.chartstyle+xml"/>
  <Override PartName="/ppt/charts/colors17.xml" ContentType="application/vnd.ms-office.chartcolorstyle+xml"/>
  <Override PartName="/ppt/tags/tag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7.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0"/>
  </p:notesMasterIdLst>
  <p:sldIdLst>
    <p:sldId id="256" r:id="rId5"/>
    <p:sldId id="260" r:id="rId6"/>
    <p:sldId id="274" r:id="rId7"/>
    <p:sldId id="273" r:id="rId8"/>
    <p:sldId id="292" r:id="rId9"/>
    <p:sldId id="267" r:id="rId10"/>
    <p:sldId id="272" r:id="rId11"/>
    <p:sldId id="284" r:id="rId12"/>
    <p:sldId id="263" r:id="rId13"/>
    <p:sldId id="279" r:id="rId14"/>
    <p:sldId id="262" r:id="rId15"/>
    <p:sldId id="282" r:id="rId16"/>
    <p:sldId id="285" r:id="rId17"/>
    <p:sldId id="283" r:id="rId18"/>
    <p:sldId id="276" r:id="rId19"/>
    <p:sldId id="275" r:id="rId20"/>
    <p:sldId id="277" r:id="rId21"/>
    <p:sldId id="289" r:id="rId22"/>
    <p:sldId id="264" r:id="rId23"/>
    <p:sldId id="268" r:id="rId24"/>
    <p:sldId id="269" r:id="rId25"/>
    <p:sldId id="1093" r:id="rId26"/>
    <p:sldId id="1096" r:id="rId27"/>
    <p:sldId id="1095" r:id="rId28"/>
    <p:sldId id="287" r:id="rId29"/>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060"/>
    <a:srgbClr val="352D86"/>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AF606853-7671-496A-8E4F-DF71F8EC918B}" styleName="Mørk stil 1 – utheving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iddels stil 2 – uthev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iddels stil 2 – uthev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3" autoAdjust="0"/>
    <p:restoredTop sz="89701" autoAdjust="0"/>
  </p:normalViewPr>
  <p:slideViewPr>
    <p:cSldViewPr snapToGrid="0">
      <p:cViewPr varScale="1">
        <p:scale>
          <a:sx n="74" d="100"/>
          <a:sy n="74" d="100"/>
        </p:scale>
        <p:origin x="902" y="62"/>
      </p:cViewPr>
      <p:guideLst/>
    </p:cSldViewPr>
  </p:slideViewPr>
  <p:outlineViewPr>
    <p:cViewPr>
      <p:scale>
        <a:sx n="33" d="100"/>
        <a:sy n="33" d="100"/>
      </p:scale>
      <p:origin x="0" y="-1860"/>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sen, Børje" userId="c36523e3-11ed-4011-9a41-1983019c0634" providerId="ADAL" clId="{5A255DFE-C7BD-459E-BCAC-2F1E657FB216}"/>
    <pc:docChg chg="custSel modSld">
      <pc:chgData name="Michaelsen, Børje" userId="c36523e3-11ed-4011-9a41-1983019c0634" providerId="ADAL" clId="{5A255DFE-C7BD-459E-BCAC-2F1E657FB216}" dt="2024-08-28T11:19:31.101" v="923" actId="1076"/>
      <pc:docMkLst>
        <pc:docMk/>
      </pc:docMkLst>
      <pc:sldChg chg="modSp mod modNotesTx">
        <pc:chgData name="Michaelsen, Børje" userId="c36523e3-11ed-4011-9a41-1983019c0634" providerId="ADAL" clId="{5A255DFE-C7BD-459E-BCAC-2F1E657FB216}" dt="2024-08-06T09:20:15.686" v="290" actId="20577"/>
        <pc:sldMkLst>
          <pc:docMk/>
          <pc:sldMk cId="1380386693" sldId="260"/>
        </pc:sldMkLst>
        <pc:graphicFrameChg chg="modGraphic">
          <ac:chgData name="Michaelsen, Børje" userId="c36523e3-11ed-4011-9a41-1983019c0634" providerId="ADAL" clId="{5A255DFE-C7BD-459E-BCAC-2F1E657FB216}" dt="2024-08-06T09:17:37.421" v="256" actId="20577"/>
          <ac:graphicFrameMkLst>
            <pc:docMk/>
            <pc:sldMk cId="1380386693" sldId="260"/>
            <ac:graphicFrameMk id="3" creationId="{00000000-0000-0000-0000-000000000000}"/>
          </ac:graphicFrameMkLst>
        </pc:graphicFrameChg>
        <pc:graphicFrameChg chg="modGraphic">
          <ac:chgData name="Michaelsen, Børje" userId="c36523e3-11ed-4011-9a41-1983019c0634" providerId="ADAL" clId="{5A255DFE-C7BD-459E-BCAC-2F1E657FB216}" dt="2024-08-06T09:20:15.686" v="290" actId="20577"/>
          <ac:graphicFrameMkLst>
            <pc:docMk/>
            <pc:sldMk cId="1380386693" sldId="260"/>
            <ac:graphicFrameMk id="8" creationId="{00000000-0000-0000-0000-000000000000}"/>
          </ac:graphicFrameMkLst>
        </pc:graphicFrameChg>
        <pc:graphicFrameChg chg="modGraphic">
          <ac:chgData name="Michaelsen, Børje" userId="c36523e3-11ed-4011-9a41-1983019c0634" providerId="ADAL" clId="{5A255DFE-C7BD-459E-BCAC-2F1E657FB216}" dt="2024-08-06T09:19:13.372" v="276" actId="20577"/>
          <ac:graphicFrameMkLst>
            <pc:docMk/>
            <pc:sldMk cId="1380386693" sldId="260"/>
            <ac:graphicFrameMk id="9" creationId="{00000000-0000-0000-0000-000000000000}"/>
          </ac:graphicFrameMkLst>
        </pc:graphicFrameChg>
        <pc:graphicFrameChg chg="modGraphic">
          <ac:chgData name="Michaelsen, Børje" userId="c36523e3-11ed-4011-9a41-1983019c0634" providerId="ADAL" clId="{5A255DFE-C7BD-459E-BCAC-2F1E657FB216}" dt="2024-08-06T09:19:59.057" v="286" actId="20577"/>
          <ac:graphicFrameMkLst>
            <pc:docMk/>
            <pc:sldMk cId="1380386693" sldId="260"/>
            <ac:graphicFrameMk id="10" creationId="{00000000-0000-0000-0000-000000000000}"/>
          </ac:graphicFrameMkLst>
        </pc:graphicFrameChg>
      </pc:sldChg>
      <pc:sldChg chg="addSp delSp modSp mod">
        <pc:chgData name="Michaelsen, Børje" userId="c36523e3-11ed-4011-9a41-1983019c0634" providerId="ADAL" clId="{5A255DFE-C7BD-459E-BCAC-2F1E657FB216}" dt="2024-08-07T14:17:04.793" v="610" actId="27918"/>
        <pc:sldMkLst>
          <pc:docMk/>
          <pc:sldMk cId="3237931907" sldId="263"/>
        </pc:sldMkLst>
        <pc:spChg chg="mod">
          <ac:chgData name="Michaelsen, Børje" userId="c36523e3-11ed-4011-9a41-1983019c0634" providerId="ADAL" clId="{5A255DFE-C7BD-459E-BCAC-2F1E657FB216}" dt="2024-08-07T12:21:50.350" v="546" actId="6549"/>
          <ac:spMkLst>
            <pc:docMk/>
            <pc:sldMk cId="3237931907" sldId="263"/>
            <ac:spMk id="10" creationId="{00000000-0000-0000-0000-000000000000}"/>
          </ac:spMkLst>
        </pc:spChg>
        <pc:graphicFrameChg chg="add mod">
          <ac:chgData name="Michaelsen, Børje" userId="c36523e3-11ed-4011-9a41-1983019c0634" providerId="ADAL" clId="{5A255DFE-C7BD-459E-BCAC-2F1E657FB216}" dt="2024-08-07T12:19:06.481" v="436" actId="14100"/>
          <ac:graphicFrameMkLst>
            <pc:docMk/>
            <pc:sldMk cId="3237931907" sldId="263"/>
            <ac:graphicFrameMk id="3" creationId="{900796C7-9568-AA7D-48B1-D162673FAB3E}"/>
          </ac:graphicFrameMkLst>
        </pc:graphicFrameChg>
        <pc:graphicFrameChg chg="add mod">
          <ac:chgData name="Michaelsen, Børje" userId="c36523e3-11ed-4011-9a41-1983019c0634" providerId="ADAL" clId="{5A255DFE-C7BD-459E-BCAC-2F1E657FB216}" dt="2024-08-07T12:20:11.955" v="445"/>
          <ac:graphicFrameMkLst>
            <pc:docMk/>
            <pc:sldMk cId="3237931907" sldId="263"/>
            <ac:graphicFrameMk id="4" creationId="{E5C71C2E-AF53-CAD5-0770-CF80592B48C1}"/>
          </ac:graphicFrameMkLst>
        </pc:graphicFrameChg>
        <pc:graphicFrameChg chg="del">
          <ac:chgData name="Michaelsen, Børje" userId="c36523e3-11ed-4011-9a41-1983019c0634" providerId="ADAL" clId="{5A255DFE-C7BD-459E-BCAC-2F1E657FB216}" dt="2024-08-07T12:18:54.681" v="432" actId="478"/>
          <ac:graphicFrameMkLst>
            <pc:docMk/>
            <pc:sldMk cId="3237931907" sldId="263"/>
            <ac:graphicFrameMk id="5" creationId="{900796C7-9568-AA7D-48B1-D162673FAB3E}"/>
          </ac:graphicFrameMkLst>
        </pc:graphicFrameChg>
        <pc:graphicFrameChg chg="del">
          <ac:chgData name="Michaelsen, Børje" userId="c36523e3-11ed-4011-9a41-1983019c0634" providerId="ADAL" clId="{5A255DFE-C7BD-459E-BCAC-2F1E657FB216}" dt="2024-08-07T12:19:39.047" v="437" actId="478"/>
          <ac:graphicFrameMkLst>
            <pc:docMk/>
            <pc:sldMk cId="3237931907" sldId="263"/>
            <ac:graphicFrameMk id="6" creationId="{E5C71C2E-AF53-CAD5-0770-CF80592B48C1}"/>
          </ac:graphicFrameMkLst>
        </pc:graphicFrameChg>
        <pc:graphicFrameChg chg="del">
          <ac:chgData name="Michaelsen, Børje" userId="c36523e3-11ed-4011-9a41-1983019c0634" providerId="ADAL" clId="{5A255DFE-C7BD-459E-BCAC-2F1E657FB216}" dt="2024-08-07T12:20:02.470" v="443" actId="478"/>
          <ac:graphicFrameMkLst>
            <pc:docMk/>
            <pc:sldMk cId="3237931907" sldId="263"/>
            <ac:graphicFrameMk id="7" creationId="{7ECEF3A2-74B9-417B-03AB-12C6B3F66D7A}"/>
          </ac:graphicFrameMkLst>
        </pc:graphicFrameChg>
        <pc:graphicFrameChg chg="add mod modGraphic">
          <ac:chgData name="Michaelsen, Børje" userId="c36523e3-11ed-4011-9a41-1983019c0634" providerId="ADAL" clId="{5A255DFE-C7BD-459E-BCAC-2F1E657FB216}" dt="2024-08-07T12:20:58.846" v="451" actId="13926"/>
          <ac:graphicFrameMkLst>
            <pc:docMk/>
            <pc:sldMk cId="3237931907" sldId="263"/>
            <ac:graphicFrameMk id="8" creationId="{A2EA6BEA-40CE-FEB6-297B-67375B9B5C12}"/>
          </ac:graphicFrameMkLst>
        </pc:graphicFrameChg>
      </pc:sldChg>
      <pc:sldChg chg="addSp delSp modSp mod modNotesTx">
        <pc:chgData name="Michaelsen, Børje" userId="c36523e3-11ed-4011-9a41-1983019c0634" providerId="ADAL" clId="{5A255DFE-C7BD-459E-BCAC-2F1E657FB216}" dt="2024-08-28T11:19:31.101" v="923" actId="1076"/>
        <pc:sldMkLst>
          <pc:docMk/>
          <pc:sldMk cId="394652420" sldId="268"/>
        </pc:sldMkLst>
        <pc:spChg chg="mod">
          <ac:chgData name="Michaelsen, Børje" userId="c36523e3-11ed-4011-9a41-1983019c0634" providerId="ADAL" clId="{5A255DFE-C7BD-459E-BCAC-2F1E657FB216}" dt="2024-08-28T11:19:06.543" v="919" actId="14100"/>
          <ac:spMkLst>
            <pc:docMk/>
            <pc:sldMk cId="394652420" sldId="268"/>
            <ac:spMk id="3" creationId="{00000000-0000-0000-0000-000000000000}"/>
          </ac:spMkLst>
        </pc:spChg>
        <pc:spChg chg="mod">
          <ac:chgData name="Michaelsen, Børje" userId="c36523e3-11ed-4011-9a41-1983019c0634" providerId="ADAL" clId="{5A255DFE-C7BD-459E-BCAC-2F1E657FB216}" dt="2024-08-28T11:18:38.875" v="916" actId="20577"/>
          <ac:spMkLst>
            <pc:docMk/>
            <pc:sldMk cId="394652420" sldId="268"/>
            <ac:spMk id="5" creationId="{00000000-0000-0000-0000-000000000000}"/>
          </ac:spMkLst>
        </pc:spChg>
        <pc:graphicFrameChg chg="add mod">
          <ac:chgData name="Michaelsen, Børje" userId="c36523e3-11ed-4011-9a41-1983019c0634" providerId="ADAL" clId="{5A255DFE-C7BD-459E-BCAC-2F1E657FB216}" dt="2024-08-28T11:19:31.101" v="923" actId="1076"/>
          <ac:graphicFrameMkLst>
            <pc:docMk/>
            <pc:sldMk cId="394652420" sldId="268"/>
            <ac:graphicFrameMk id="7" creationId="{D005A174-951D-5523-A50A-72D519C22056}"/>
          </ac:graphicFrameMkLst>
        </pc:graphicFrameChg>
        <pc:picChg chg="del">
          <ac:chgData name="Michaelsen, Børje" userId="c36523e3-11ed-4011-9a41-1983019c0634" providerId="ADAL" clId="{5A255DFE-C7BD-459E-BCAC-2F1E657FB216}" dt="2024-08-28T11:19:08.748" v="920" actId="478"/>
          <ac:picMkLst>
            <pc:docMk/>
            <pc:sldMk cId="394652420" sldId="268"/>
            <ac:picMk id="4" creationId="{00000000-0000-0000-0000-000000000000}"/>
          </ac:picMkLst>
        </pc:picChg>
      </pc:sldChg>
      <pc:sldChg chg="addSp delSp modSp mod modNotesTx">
        <pc:chgData name="Michaelsen, Børje" userId="c36523e3-11ed-4011-9a41-1983019c0634" providerId="ADAL" clId="{5A255DFE-C7BD-459E-BCAC-2F1E657FB216}" dt="2024-08-05T09:26:59.413" v="81" actId="1038"/>
        <pc:sldMkLst>
          <pc:docMk/>
          <pc:sldMk cId="1763573476" sldId="269"/>
        </pc:sldMkLst>
        <pc:graphicFrameChg chg="add mod">
          <ac:chgData name="Michaelsen, Børje" userId="c36523e3-11ed-4011-9a41-1983019c0634" providerId="ADAL" clId="{5A255DFE-C7BD-459E-BCAC-2F1E657FB216}" dt="2024-08-05T09:26:39.461" v="59" actId="207"/>
          <ac:graphicFrameMkLst>
            <pc:docMk/>
            <pc:sldMk cId="1763573476" sldId="269"/>
            <ac:graphicFrameMk id="5" creationId="{2F5FB7D3-232A-E4BD-5BFD-37DF36511B5E}"/>
          </ac:graphicFrameMkLst>
        </pc:graphicFrameChg>
        <pc:graphicFrameChg chg="del">
          <ac:chgData name="Michaelsen, Børje" userId="c36523e3-11ed-4011-9a41-1983019c0634" providerId="ADAL" clId="{5A255DFE-C7BD-459E-BCAC-2F1E657FB216}" dt="2024-08-05T09:26:06.697" v="52" actId="478"/>
          <ac:graphicFrameMkLst>
            <pc:docMk/>
            <pc:sldMk cId="1763573476" sldId="269"/>
            <ac:graphicFrameMk id="6" creationId="{CF391B4A-2247-2CEB-22F0-CBC397031A32}"/>
          </ac:graphicFrameMkLst>
        </pc:graphicFrameChg>
        <pc:picChg chg="mod">
          <ac:chgData name="Michaelsen, Børje" userId="c36523e3-11ed-4011-9a41-1983019c0634" providerId="ADAL" clId="{5A255DFE-C7BD-459E-BCAC-2F1E657FB216}" dt="2024-08-05T09:26:59.413" v="81" actId="1038"/>
          <ac:picMkLst>
            <pc:docMk/>
            <pc:sldMk cId="1763573476" sldId="269"/>
            <ac:picMk id="8" creationId="{A9BE8DBC-C505-451F-F43A-332B9314D642}"/>
          </ac:picMkLst>
        </pc:picChg>
        <pc:picChg chg="mod">
          <ac:chgData name="Michaelsen, Børje" userId="c36523e3-11ed-4011-9a41-1983019c0634" providerId="ADAL" clId="{5A255DFE-C7BD-459E-BCAC-2F1E657FB216}" dt="2024-08-05T09:26:56.595" v="77" actId="1038"/>
          <ac:picMkLst>
            <pc:docMk/>
            <pc:sldMk cId="1763573476" sldId="269"/>
            <ac:picMk id="9" creationId="{B587BB7E-8572-1A80-5302-2687D1490CF2}"/>
          </ac:picMkLst>
        </pc:picChg>
        <pc:picChg chg="mod">
          <ac:chgData name="Michaelsen, Børje" userId="c36523e3-11ed-4011-9a41-1983019c0634" providerId="ADAL" clId="{5A255DFE-C7BD-459E-BCAC-2F1E657FB216}" dt="2024-08-05T09:26:49.410" v="66" actId="1038"/>
          <ac:picMkLst>
            <pc:docMk/>
            <pc:sldMk cId="1763573476" sldId="269"/>
            <ac:picMk id="11" creationId="{4D3B195F-375E-CDE7-7A31-20B4DB96B2A9}"/>
          </ac:picMkLst>
        </pc:picChg>
        <pc:picChg chg="mod">
          <ac:chgData name="Michaelsen, Børje" userId="c36523e3-11ed-4011-9a41-1983019c0634" providerId="ADAL" clId="{5A255DFE-C7BD-459E-BCAC-2F1E657FB216}" dt="2024-08-05T09:26:52.162" v="72" actId="1038"/>
          <ac:picMkLst>
            <pc:docMk/>
            <pc:sldMk cId="1763573476" sldId="269"/>
            <ac:picMk id="12" creationId="{2A2F51B5-E6E1-0E28-053D-158BAD143F90}"/>
          </ac:picMkLst>
        </pc:picChg>
      </pc:sldChg>
      <pc:sldChg chg="addSp delSp modSp mod modNotesTx">
        <pc:chgData name="Michaelsen, Børje" userId="c36523e3-11ed-4011-9a41-1983019c0634" providerId="ADAL" clId="{5A255DFE-C7BD-459E-BCAC-2F1E657FB216}" dt="2024-08-08T11:40:16.577" v="719" actId="20577"/>
        <pc:sldMkLst>
          <pc:docMk/>
          <pc:sldMk cId="1348694183" sldId="272"/>
        </pc:sldMkLst>
        <pc:graphicFrameChg chg="mod modGraphic">
          <ac:chgData name="Michaelsen, Børje" userId="c36523e3-11ed-4011-9a41-1983019c0634" providerId="ADAL" clId="{5A255DFE-C7BD-459E-BCAC-2F1E657FB216}" dt="2024-08-08T11:40:16.577" v="719" actId="20577"/>
          <ac:graphicFrameMkLst>
            <pc:docMk/>
            <pc:sldMk cId="1348694183" sldId="272"/>
            <ac:graphicFrameMk id="6" creationId="{00000000-0000-0000-0000-000000000000}"/>
          </ac:graphicFrameMkLst>
        </pc:graphicFrameChg>
        <pc:picChg chg="add mod">
          <ac:chgData name="Michaelsen, Børje" userId="c36523e3-11ed-4011-9a41-1983019c0634" providerId="ADAL" clId="{5A255DFE-C7BD-459E-BCAC-2F1E657FB216}" dt="2024-08-08T11:38:59.503" v="709"/>
          <ac:picMkLst>
            <pc:docMk/>
            <pc:sldMk cId="1348694183" sldId="272"/>
            <ac:picMk id="3" creationId="{824151AD-A93E-657A-ED7E-0BCAA84C26E8}"/>
          </ac:picMkLst>
        </pc:picChg>
        <pc:picChg chg="del">
          <ac:chgData name="Michaelsen, Børje" userId="c36523e3-11ed-4011-9a41-1983019c0634" providerId="ADAL" clId="{5A255DFE-C7BD-459E-BCAC-2F1E657FB216}" dt="2024-08-08T11:38:58.271" v="708" actId="478"/>
          <ac:picMkLst>
            <pc:docMk/>
            <pc:sldMk cId="1348694183" sldId="272"/>
            <ac:picMk id="4" creationId="{FB2F211E-5457-441C-7209-D181DAD915EF}"/>
          </ac:picMkLst>
        </pc:picChg>
      </pc:sldChg>
      <pc:sldChg chg="addSp delSp modSp mod modNotesTx">
        <pc:chgData name="Michaelsen, Børje" userId="c36523e3-11ed-4011-9a41-1983019c0634" providerId="ADAL" clId="{5A255DFE-C7BD-459E-BCAC-2F1E657FB216}" dt="2024-08-05T13:02:31.504" v="178" actId="27918"/>
        <pc:sldMkLst>
          <pc:docMk/>
          <pc:sldMk cId="4110371661" sldId="275"/>
        </pc:sldMkLst>
        <pc:graphicFrameChg chg="del">
          <ac:chgData name="Michaelsen, Børje" userId="c36523e3-11ed-4011-9a41-1983019c0634" providerId="ADAL" clId="{5A255DFE-C7BD-459E-BCAC-2F1E657FB216}" dt="2024-08-05T12:30:00.911" v="140" actId="478"/>
          <ac:graphicFrameMkLst>
            <pc:docMk/>
            <pc:sldMk cId="4110371661" sldId="275"/>
            <ac:graphicFrameMk id="5" creationId="{A9AB4960-5BA5-6AF9-F3ED-65DFE4591263}"/>
          </ac:graphicFrameMkLst>
        </pc:graphicFrameChg>
        <pc:graphicFrameChg chg="add mod">
          <ac:chgData name="Michaelsen, Børje" userId="c36523e3-11ed-4011-9a41-1983019c0634" providerId="ADAL" clId="{5A255DFE-C7BD-459E-BCAC-2F1E657FB216}" dt="2024-08-05T12:30:12.922" v="144" actId="14100"/>
          <ac:graphicFrameMkLst>
            <pc:docMk/>
            <pc:sldMk cId="4110371661" sldId="275"/>
            <ac:graphicFrameMk id="6" creationId="{A9AB4960-5BA5-6AF9-F3ED-65DFE4591263}"/>
          </ac:graphicFrameMkLst>
        </pc:graphicFrameChg>
      </pc:sldChg>
      <pc:sldChg chg="addSp delSp modSp mod modNotesTx">
        <pc:chgData name="Michaelsen, Børje" userId="c36523e3-11ed-4011-9a41-1983019c0634" providerId="ADAL" clId="{5A255DFE-C7BD-459E-BCAC-2F1E657FB216}" dt="2024-08-05T11:29:38.024" v="138" actId="20577"/>
        <pc:sldMkLst>
          <pc:docMk/>
          <pc:sldMk cId="768537486" sldId="276"/>
        </pc:sldMkLst>
        <pc:spChg chg="mod">
          <ac:chgData name="Michaelsen, Børje" userId="c36523e3-11ed-4011-9a41-1983019c0634" providerId="ADAL" clId="{5A255DFE-C7BD-459E-BCAC-2F1E657FB216}" dt="2024-08-05T11:29:07.128" v="107" actId="1035"/>
          <ac:spMkLst>
            <pc:docMk/>
            <pc:sldMk cId="768537486" sldId="276"/>
            <ac:spMk id="5" creationId="{B21E2FD4-D9C7-8BE3-335D-DD3F9D2AE41F}"/>
          </ac:spMkLst>
        </pc:spChg>
        <pc:spChg chg="add del mod">
          <ac:chgData name="Michaelsen, Børje" userId="c36523e3-11ed-4011-9a41-1983019c0634" providerId="ADAL" clId="{5A255DFE-C7BD-459E-BCAC-2F1E657FB216}" dt="2024-08-05T11:28:22.164" v="83" actId="478"/>
          <ac:spMkLst>
            <pc:docMk/>
            <pc:sldMk cId="768537486" sldId="276"/>
            <ac:spMk id="6" creationId="{72ACD1A0-E43B-141E-12E5-415586AD3B34}"/>
          </ac:spMkLst>
        </pc:spChg>
        <pc:spChg chg="del">
          <ac:chgData name="Michaelsen, Børje" userId="c36523e3-11ed-4011-9a41-1983019c0634" providerId="ADAL" clId="{5A255DFE-C7BD-459E-BCAC-2F1E657FB216}" dt="2024-08-05T11:28:18.295" v="82" actId="478"/>
          <ac:spMkLst>
            <pc:docMk/>
            <pc:sldMk cId="768537486" sldId="276"/>
            <ac:spMk id="9" creationId="{00000000-0000-0000-0000-000000000000}"/>
          </ac:spMkLst>
        </pc:spChg>
        <pc:graphicFrameChg chg="add mod modGraphic">
          <ac:chgData name="Michaelsen, Børje" userId="c36523e3-11ed-4011-9a41-1983019c0634" providerId="ADAL" clId="{5A255DFE-C7BD-459E-BCAC-2F1E657FB216}" dt="2024-08-05T11:29:38.024" v="138" actId="20577"/>
          <ac:graphicFrameMkLst>
            <pc:docMk/>
            <pc:sldMk cId="768537486" sldId="276"/>
            <ac:graphicFrameMk id="7" creationId="{4C597273-0264-90B8-E414-2B75B5E01408}"/>
          </ac:graphicFrameMkLst>
        </pc:graphicFrameChg>
        <pc:graphicFrameChg chg="del">
          <ac:chgData name="Michaelsen, Børje" userId="c36523e3-11ed-4011-9a41-1983019c0634" providerId="ADAL" clId="{5A255DFE-C7BD-459E-BCAC-2F1E657FB216}" dt="2024-08-05T11:28:26.221" v="84" actId="478"/>
          <ac:graphicFrameMkLst>
            <pc:docMk/>
            <pc:sldMk cId="768537486" sldId="276"/>
            <ac:graphicFrameMk id="8" creationId="{00000000-0000-0000-0000-000000000000}"/>
          </ac:graphicFrameMkLst>
        </pc:graphicFrameChg>
        <pc:picChg chg="del">
          <ac:chgData name="Michaelsen, Børje" userId="c36523e3-11ed-4011-9a41-1983019c0634" providerId="ADAL" clId="{5A255DFE-C7BD-459E-BCAC-2F1E657FB216}" dt="2024-08-05T11:28:28.188" v="85" actId="478"/>
          <ac:picMkLst>
            <pc:docMk/>
            <pc:sldMk cId="768537486" sldId="276"/>
            <ac:picMk id="3" creationId="{9B70D058-85F1-23E5-0932-E3431DDCD26A}"/>
          </ac:picMkLst>
        </pc:picChg>
        <pc:picChg chg="add mod">
          <ac:chgData name="Michaelsen, Børje" userId="c36523e3-11ed-4011-9a41-1983019c0634" providerId="ADAL" clId="{5A255DFE-C7BD-459E-BCAC-2F1E657FB216}" dt="2024-08-05T11:28:53.856" v="88"/>
          <ac:picMkLst>
            <pc:docMk/>
            <pc:sldMk cId="768537486" sldId="276"/>
            <ac:picMk id="10" creationId="{CF93E000-86EF-9BA8-8A4D-AEE473996585}"/>
          </ac:picMkLst>
        </pc:picChg>
        <pc:picChg chg="add mod">
          <ac:chgData name="Michaelsen, Børje" userId="c36523e3-11ed-4011-9a41-1983019c0634" providerId="ADAL" clId="{5A255DFE-C7BD-459E-BCAC-2F1E657FB216}" dt="2024-08-05T11:28:53.856" v="88"/>
          <ac:picMkLst>
            <pc:docMk/>
            <pc:sldMk cId="768537486" sldId="276"/>
            <ac:picMk id="11" creationId="{24F75D29-6AB4-DD32-D9DD-BC2E3562AE48}"/>
          </ac:picMkLst>
        </pc:picChg>
      </pc:sldChg>
      <pc:sldChg chg="addSp delSp modSp mod">
        <pc:chgData name="Michaelsen, Børje" userId="c36523e3-11ed-4011-9a41-1983019c0634" providerId="ADAL" clId="{5A255DFE-C7BD-459E-BCAC-2F1E657FB216}" dt="2024-08-05T13:46:23.579" v="213" actId="27918"/>
        <pc:sldMkLst>
          <pc:docMk/>
          <pc:sldMk cId="2721633966" sldId="277"/>
        </pc:sldMkLst>
        <pc:graphicFrameChg chg="del">
          <ac:chgData name="Michaelsen, Børje" userId="c36523e3-11ed-4011-9a41-1983019c0634" providerId="ADAL" clId="{5A255DFE-C7BD-459E-BCAC-2F1E657FB216}" dt="2024-08-05T13:23:34.215" v="179" actId="478"/>
          <ac:graphicFrameMkLst>
            <pc:docMk/>
            <pc:sldMk cId="2721633966" sldId="277"/>
            <ac:graphicFrameMk id="5" creationId="{1E871170-F82D-1EDA-BE6F-558892AFB706}"/>
          </ac:graphicFrameMkLst>
        </pc:graphicFrameChg>
        <pc:graphicFrameChg chg="add mod">
          <ac:chgData name="Michaelsen, Børje" userId="c36523e3-11ed-4011-9a41-1983019c0634" providerId="ADAL" clId="{5A255DFE-C7BD-459E-BCAC-2F1E657FB216}" dt="2024-08-05T13:24:04.153" v="183"/>
          <ac:graphicFrameMkLst>
            <pc:docMk/>
            <pc:sldMk cId="2721633966" sldId="277"/>
            <ac:graphicFrameMk id="6" creationId="{1E871170-F82D-1EDA-BE6F-558892AFB706}"/>
          </ac:graphicFrameMkLst>
        </pc:graphicFrameChg>
      </pc:sldChg>
      <pc:sldChg chg="addSp delSp modSp mod">
        <pc:chgData name="Michaelsen, Børje" userId="c36523e3-11ed-4011-9a41-1983019c0634" providerId="ADAL" clId="{5A255DFE-C7BD-459E-BCAC-2F1E657FB216}" dt="2024-08-26T13:18:11.323" v="907" actId="13926"/>
        <pc:sldMkLst>
          <pc:docMk/>
          <pc:sldMk cId="662108869" sldId="279"/>
        </pc:sldMkLst>
        <pc:spChg chg="mod">
          <ac:chgData name="Michaelsen, Børje" userId="c36523e3-11ed-4011-9a41-1983019c0634" providerId="ADAL" clId="{5A255DFE-C7BD-459E-BCAC-2F1E657FB216}" dt="2024-08-08T07:39:11.768" v="612" actId="20577"/>
          <ac:spMkLst>
            <pc:docMk/>
            <pc:sldMk cId="662108869" sldId="279"/>
            <ac:spMk id="2" creationId="{00000000-0000-0000-0000-000000000000}"/>
          </ac:spMkLst>
        </pc:spChg>
        <pc:spChg chg="mod">
          <ac:chgData name="Michaelsen, Børje" userId="c36523e3-11ed-4011-9a41-1983019c0634" providerId="ADAL" clId="{5A255DFE-C7BD-459E-BCAC-2F1E657FB216}" dt="2024-08-26T13:18:11.323" v="907" actId="13926"/>
          <ac:spMkLst>
            <pc:docMk/>
            <pc:sldMk cId="662108869" sldId="279"/>
            <ac:spMk id="10" creationId="{00000000-0000-0000-0000-000000000000}"/>
          </ac:spMkLst>
        </pc:spChg>
        <pc:graphicFrameChg chg="del">
          <ac:chgData name="Michaelsen, Børje" userId="c36523e3-11ed-4011-9a41-1983019c0634" providerId="ADAL" clId="{5A255DFE-C7BD-459E-BCAC-2F1E657FB216}" dt="2024-08-08T07:39:37.345" v="614" actId="478"/>
          <ac:graphicFrameMkLst>
            <pc:docMk/>
            <pc:sldMk cId="662108869" sldId="279"/>
            <ac:graphicFrameMk id="3" creationId="{CAA1CB3D-938F-067F-8DA9-50299143B277}"/>
          </ac:graphicFrameMkLst>
        </pc:graphicFrameChg>
        <pc:graphicFrameChg chg="del">
          <ac:chgData name="Michaelsen, Børje" userId="c36523e3-11ed-4011-9a41-1983019c0634" providerId="ADAL" clId="{5A255DFE-C7BD-459E-BCAC-2F1E657FB216}" dt="2024-08-08T07:40:55.150" v="618" actId="478"/>
          <ac:graphicFrameMkLst>
            <pc:docMk/>
            <pc:sldMk cId="662108869" sldId="279"/>
            <ac:graphicFrameMk id="4" creationId="{24E4A504-A222-3225-2904-7772932E33DE}"/>
          </ac:graphicFrameMkLst>
        </pc:graphicFrameChg>
        <pc:graphicFrameChg chg="add mod">
          <ac:chgData name="Michaelsen, Børje" userId="c36523e3-11ed-4011-9a41-1983019c0634" providerId="ADAL" clId="{5A255DFE-C7BD-459E-BCAC-2F1E657FB216}" dt="2024-08-08T07:39:51.612" v="617" actId="14100"/>
          <ac:graphicFrameMkLst>
            <pc:docMk/>
            <pc:sldMk cId="662108869" sldId="279"/>
            <ac:graphicFrameMk id="6" creationId="{54099CEB-1703-8B3F-4851-D73D649045F6}"/>
          </ac:graphicFrameMkLst>
        </pc:graphicFrameChg>
        <pc:graphicFrameChg chg="add mod">
          <ac:chgData name="Michaelsen, Børje" userId="c36523e3-11ed-4011-9a41-1983019c0634" providerId="ADAL" clId="{5A255DFE-C7BD-459E-BCAC-2F1E657FB216}" dt="2024-08-08T07:41:53.590" v="628" actId="692"/>
          <ac:graphicFrameMkLst>
            <pc:docMk/>
            <pc:sldMk cId="662108869" sldId="279"/>
            <ac:graphicFrameMk id="7" creationId="{24E4A504-A222-3225-2904-7772932E33DE}"/>
          </ac:graphicFrameMkLst>
        </pc:graphicFrameChg>
      </pc:sldChg>
      <pc:sldChg chg="addSp delSp modSp mod">
        <pc:chgData name="Michaelsen, Børje" userId="c36523e3-11ed-4011-9a41-1983019c0634" providerId="ADAL" clId="{5A255DFE-C7BD-459E-BCAC-2F1E657FB216}" dt="2024-08-26T11:43:53.514" v="795" actId="20577"/>
        <pc:sldMkLst>
          <pc:docMk/>
          <pc:sldMk cId="835482435" sldId="282"/>
        </pc:sldMkLst>
        <pc:spChg chg="mod">
          <ac:chgData name="Michaelsen, Børje" userId="c36523e3-11ed-4011-9a41-1983019c0634" providerId="ADAL" clId="{5A255DFE-C7BD-459E-BCAC-2F1E657FB216}" dt="2024-08-26T11:43:53.514" v="795" actId="20577"/>
          <ac:spMkLst>
            <pc:docMk/>
            <pc:sldMk cId="835482435" sldId="282"/>
            <ac:spMk id="3" creationId="{00000000-0000-0000-0000-000000000000}"/>
          </ac:spMkLst>
        </pc:spChg>
        <pc:graphicFrameChg chg="del">
          <ac:chgData name="Michaelsen, Børje" userId="c36523e3-11ed-4011-9a41-1983019c0634" providerId="ADAL" clId="{5A255DFE-C7BD-459E-BCAC-2F1E657FB216}" dt="2024-08-26T11:43:38.431" v="784" actId="478"/>
          <ac:graphicFrameMkLst>
            <pc:docMk/>
            <pc:sldMk cId="835482435" sldId="282"/>
            <ac:graphicFrameMk id="4" creationId="{78039546-200C-51F9-A3B8-CF9627E87368}"/>
          </ac:graphicFrameMkLst>
        </pc:graphicFrameChg>
        <pc:graphicFrameChg chg="add mod">
          <ac:chgData name="Michaelsen, Børje" userId="c36523e3-11ed-4011-9a41-1983019c0634" providerId="ADAL" clId="{5A255DFE-C7BD-459E-BCAC-2F1E657FB216}" dt="2024-08-26T11:43:44.387" v="787" actId="1076"/>
          <ac:graphicFrameMkLst>
            <pc:docMk/>
            <pc:sldMk cId="835482435" sldId="282"/>
            <ac:graphicFrameMk id="5" creationId="{78039546-200C-51F9-A3B8-CF9627E87368}"/>
          </ac:graphicFrameMkLst>
        </pc:graphicFrameChg>
      </pc:sldChg>
      <pc:sldChg chg="addSp delSp modSp mod modNotesTx">
        <pc:chgData name="Michaelsen, Børje" userId="c36523e3-11ed-4011-9a41-1983019c0634" providerId="ADAL" clId="{5A255DFE-C7BD-459E-BCAC-2F1E657FB216}" dt="2024-08-12T09:46:53.624" v="744" actId="962"/>
        <pc:sldMkLst>
          <pc:docMk/>
          <pc:sldMk cId="3156779651" sldId="284"/>
        </pc:sldMkLst>
        <pc:spChg chg="mod">
          <ac:chgData name="Michaelsen, Børje" userId="c36523e3-11ed-4011-9a41-1983019c0634" providerId="ADAL" clId="{5A255DFE-C7BD-459E-BCAC-2F1E657FB216}" dt="2024-08-12T09:42:47.487" v="736" actId="20577"/>
          <ac:spMkLst>
            <pc:docMk/>
            <pc:sldMk cId="3156779651" sldId="284"/>
            <ac:spMk id="3" creationId="{00000000-0000-0000-0000-000000000000}"/>
          </ac:spMkLst>
        </pc:spChg>
        <pc:spChg chg="mod">
          <ac:chgData name="Michaelsen, Børje" userId="c36523e3-11ed-4011-9a41-1983019c0634" providerId="ADAL" clId="{5A255DFE-C7BD-459E-BCAC-2F1E657FB216}" dt="2024-08-12T09:46:26.378" v="742" actId="1076"/>
          <ac:spMkLst>
            <pc:docMk/>
            <pc:sldMk cId="3156779651" sldId="284"/>
            <ac:spMk id="29" creationId="{00000000-0000-0000-0000-000000000000}"/>
          </ac:spMkLst>
        </pc:spChg>
        <pc:picChg chg="del">
          <ac:chgData name="Michaelsen, Børje" userId="c36523e3-11ed-4011-9a41-1983019c0634" providerId="ADAL" clId="{5A255DFE-C7BD-459E-BCAC-2F1E657FB216}" dt="2024-08-12T09:46:06.234" v="737" actId="478"/>
          <ac:picMkLst>
            <pc:docMk/>
            <pc:sldMk cId="3156779651" sldId="284"/>
            <ac:picMk id="41" creationId="{C722A189-6382-CE15-C893-3C19B89C6E93}"/>
          </ac:picMkLst>
        </pc:picChg>
        <pc:picChg chg="add mod ord">
          <ac:chgData name="Michaelsen, Børje" userId="c36523e3-11ed-4011-9a41-1983019c0634" providerId="ADAL" clId="{5A255DFE-C7BD-459E-BCAC-2F1E657FB216}" dt="2024-08-12T09:46:53.624" v="744" actId="962"/>
          <ac:picMkLst>
            <pc:docMk/>
            <pc:sldMk cId="3156779651" sldId="284"/>
            <ac:picMk id="42" creationId="{E81CF973-47C5-81CD-469C-3CD4D46B2F43}"/>
          </ac:picMkLst>
        </pc:picChg>
      </pc:sldChg>
      <pc:sldChg chg="addSp delSp modSp mod modNotesTx">
        <pc:chgData name="Michaelsen, Børje" userId="c36523e3-11ed-4011-9a41-1983019c0634" providerId="ADAL" clId="{5A255DFE-C7BD-459E-BCAC-2F1E657FB216}" dt="2024-08-13T07:37:59.158" v="783" actId="20577"/>
        <pc:sldMkLst>
          <pc:docMk/>
          <pc:sldMk cId="4268334138" sldId="285"/>
        </pc:sldMkLst>
        <pc:spChg chg="mod">
          <ac:chgData name="Michaelsen, Børje" userId="c36523e3-11ed-4011-9a41-1983019c0634" providerId="ADAL" clId="{5A255DFE-C7BD-459E-BCAC-2F1E657FB216}" dt="2024-08-13T07:37:59.158" v="783" actId="20577"/>
          <ac:spMkLst>
            <pc:docMk/>
            <pc:sldMk cId="4268334138" sldId="285"/>
            <ac:spMk id="3" creationId="{0E208661-40B4-4483-9A05-FE473BED7235}"/>
          </ac:spMkLst>
        </pc:spChg>
        <pc:graphicFrameChg chg="del">
          <ac:chgData name="Michaelsen, Børje" userId="c36523e3-11ed-4011-9a41-1983019c0634" providerId="ADAL" clId="{5A255DFE-C7BD-459E-BCAC-2F1E657FB216}" dt="2024-08-13T07:37:24.863" v="748" actId="478"/>
          <ac:graphicFrameMkLst>
            <pc:docMk/>
            <pc:sldMk cId="4268334138" sldId="285"/>
            <ac:graphicFrameMk id="6" creationId="{18197FB1-9372-F1DC-4225-665AF0196003}"/>
          </ac:graphicFrameMkLst>
        </pc:graphicFrameChg>
        <pc:graphicFrameChg chg="add mod">
          <ac:chgData name="Michaelsen, Børje" userId="c36523e3-11ed-4011-9a41-1983019c0634" providerId="ADAL" clId="{5A255DFE-C7BD-459E-BCAC-2F1E657FB216}" dt="2024-08-13T07:37:32.690" v="752" actId="14100"/>
          <ac:graphicFrameMkLst>
            <pc:docMk/>
            <pc:sldMk cId="4268334138" sldId="285"/>
            <ac:graphicFrameMk id="7" creationId="{20743EAD-2704-49A5-4317-249C8750BC66}"/>
          </ac:graphicFrameMkLst>
        </pc:graphicFrameChg>
      </pc:sldChg>
      <pc:sldChg chg="addSp delSp modSp mod">
        <pc:chgData name="Michaelsen, Børje" userId="c36523e3-11ed-4011-9a41-1983019c0634" providerId="ADAL" clId="{5A255DFE-C7BD-459E-BCAC-2F1E657FB216}" dt="2024-08-06T06:56:19.767" v="230" actId="14100"/>
        <pc:sldMkLst>
          <pc:docMk/>
          <pc:sldMk cId="1736272724" sldId="289"/>
        </pc:sldMkLst>
        <pc:graphicFrameChg chg="del">
          <ac:chgData name="Michaelsen, Børje" userId="c36523e3-11ed-4011-9a41-1983019c0634" providerId="ADAL" clId="{5A255DFE-C7BD-459E-BCAC-2F1E657FB216}" dt="2024-08-06T06:54:47.152" v="214" actId="478"/>
          <ac:graphicFrameMkLst>
            <pc:docMk/>
            <pc:sldMk cId="1736272724" sldId="289"/>
            <ac:graphicFrameMk id="4" creationId="{00000000-0008-0000-0200-000002000000}"/>
          </ac:graphicFrameMkLst>
        </pc:graphicFrameChg>
        <pc:graphicFrameChg chg="del">
          <ac:chgData name="Michaelsen, Børje" userId="c36523e3-11ed-4011-9a41-1983019c0634" providerId="ADAL" clId="{5A255DFE-C7BD-459E-BCAC-2F1E657FB216}" dt="2024-08-06T06:56:04.079" v="225" actId="478"/>
          <ac:graphicFrameMkLst>
            <pc:docMk/>
            <pc:sldMk cId="1736272724" sldId="289"/>
            <ac:graphicFrameMk id="5" creationId="{00000000-0008-0000-0000-000002000000}"/>
          </ac:graphicFrameMkLst>
        </pc:graphicFrameChg>
        <pc:graphicFrameChg chg="del">
          <ac:chgData name="Michaelsen, Børje" userId="c36523e3-11ed-4011-9a41-1983019c0634" providerId="ADAL" clId="{5A255DFE-C7BD-459E-BCAC-2F1E657FB216}" dt="2024-08-06T06:55:34.401" v="219" actId="478"/>
          <ac:graphicFrameMkLst>
            <pc:docMk/>
            <pc:sldMk cId="1736272724" sldId="289"/>
            <ac:graphicFrameMk id="6" creationId="{00000000-0008-0000-0000-000002000000}"/>
          </ac:graphicFrameMkLst>
        </pc:graphicFrameChg>
        <pc:graphicFrameChg chg="add mod">
          <ac:chgData name="Michaelsen, Børje" userId="c36523e3-11ed-4011-9a41-1983019c0634" providerId="ADAL" clId="{5A255DFE-C7BD-459E-BCAC-2F1E657FB216}" dt="2024-08-06T06:55:09.036" v="218" actId="1076"/>
          <ac:graphicFrameMkLst>
            <pc:docMk/>
            <pc:sldMk cId="1736272724" sldId="289"/>
            <ac:graphicFrameMk id="8" creationId="{00000000-0008-0000-0200-000002000000}"/>
          </ac:graphicFrameMkLst>
        </pc:graphicFrameChg>
        <pc:graphicFrameChg chg="add mod">
          <ac:chgData name="Michaelsen, Børje" userId="c36523e3-11ed-4011-9a41-1983019c0634" providerId="ADAL" clId="{5A255DFE-C7BD-459E-BCAC-2F1E657FB216}" dt="2024-08-06T06:55:51.590" v="224" actId="14100"/>
          <ac:graphicFrameMkLst>
            <pc:docMk/>
            <pc:sldMk cId="1736272724" sldId="289"/>
            <ac:graphicFrameMk id="9" creationId="{00000000-0008-0000-0000-000002000000}"/>
          </ac:graphicFrameMkLst>
        </pc:graphicFrameChg>
        <pc:graphicFrameChg chg="add mod">
          <ac:chgData name="Michaelsen, Børje" userId="c36523e3-11ed-4011-9a41-1983019c0634" providerId="ADAL" clId="{5A255DFE-C7BD-459E-BCAC-2F1E657FB216}" dt="2024-08-06T06:56:19.767" v="230" actId="14100"/>
          <ac:graphicFrameMkLst>
            <pc:docMk/>
            <pc:sldMk cId="1736272724" sldId="289"/>
            <ac:graphicFrameMk id="10" creationId="{028D2252-F4B0-498F-AA99-FB6CF217ADD0}"/>
          </ac:graphicFrameMkLst>
        </pc:graphicFrameChg>
      </pc:sldChg>
      <pc:sldChg chg="addSp delSp modSp mod">
        <pc:chgData name="Michaelsen, Børje" userId="c36523e3-11ed-4011-9a41-1983019c0634" providerId="ADAL" clId="{5A255DFE-C7BD-459E-BCAC-2F1E657FB216}" dt="2024-08-07T09:56:51.237" v="431" actId="27918"/>
        <pc:sldMkLst>
          <pc:docMk/>
          <pc:sldMk cId="3663715429" sldId="292"/>
        </pc:sldMkLst>
        <pc:spChg chg="mod">
          <ac:chgData name="Michaelsen, Børje" userId="c36523e3-11ed-4011-9a41-1983019c0634" providerId="ADAL" clId="{5A255DFE-C7BD-459E-BCAC-2F1E657FB216}" dt="2024-08-06T12:47:59.771" v="328" actId="1035"/>
          <ac:spMkLst>
            <pc:docMk/>
            <pc:sldMk cId="3663715429" sldId="292"/>
            <ac:spMk id="5" creationId="{7937958D-62FE-9603-BA05-2A8AC7B51C8D}"/>
          </ac:spMkLst>
        </pc:spChg>
        <pc:spChg chg="mod">
          <ac:chgData name="Michaelsen, Børje" userId="c36523e3-11ed-4011-9a41-1983019c0634" providerId="ADAL" clId="{5A255DFE-C7BD-459E-BCAC-2F1E657FB216}" dt="2024-08-06T13:12:26.483" v="384" actId="6549"/>
          <ac:spMkLst>
            <pc:docMk/>
            <pc:sldMk cId="3663715429" sldId="292"/>
            <ac:spMk id="7" creationId="{00000000-0000-0000-0000-000000000000}"/>
          </ac:spMkLst>
        </pc:spChg>
        <pc:spChg chg="mod">
          <ac:chgData name="Michaelsen, Børje" userId="c36523e3-11ed-4011-9a41-1983019c0634" providerId="ADAL" clId="{5A255DFE-C7BD-459E-BCAC-2F1E657FB216}" dt="2024-08-06T12:50:06.632" v="364" actId="20577"/>
          <ac:spMkLst>
            <pc:docMk/>
            <pc:sldMk cId="3663715429" sldId="292"/>
            <ac:spMk id="18" creationId="{00000000-0000-0000-0000-000000000000}"/>
          </ac:spMkLst>
        </pc:spChg>
        <pc:graphicFrameChg chg="del">
          <ac:chgData name="Michaelsen, Børje" userId="c36523e3-11ed-4011-9a41-1983019c0634" providerId="ADAL" clId="{5A255DFE-C7BD-459E-BCAC-2F1E657FB216}" dt="2024-08-06T12:47:40.483" v="291" actId="478"/>
          <ac:graphicFrameMkLst>
            <pc:docMk/>
            <pc:sldMk cId="3663715429" sldId="292"/>
            <ac:graphicFrameMk id="3" creationId="{00000000-0008-0000-0100-000002000000}"/>
          </ac:graphicFrameMkLst>
        </pc:graphicFrameChg>
        <pc:graphicFrameChg chg="del">
          <ac:chgData name="Michaelsen, Børje" userId="c36523e3-11ed-4011-9a41-1983019c0634" providerId="ADAL" clId="{5A255DFE-C7BD-459E-BCAC-2F1E657FB216}" dt="2024-08-06T12:49:43.780" v="355" actId="478"/>
          <ac:graphicFrameMkLst>
            <pc:docMk/>
            <pc:sldMk cId="3663715429" sldId="292"/>
            <ac:graphicFrameMk id="4" creationId="{00000000-0008-0000-0300-000003000000}"/>
          </ac:graphicFrameMkLst>
        </pc:graphicFrameChg>
        <pc:graphicFrameChg chg="add mod">
          <ac:chgData name="Michaelsen, Børje" userId="c36523e3-11ed-4011-9a41-1983019c0634" providerId="ADAL" clId="{5A255DFE-C7BD-459E-BCAC-2F1E657FB216}" dt="2024-08-06T13:12:30.768" v="391" actId="1036"/>
          <ac:graphicFrameMkLst>
            <pc:docMk/>
            <pc:sldMk cId="3663715429" sldId="292"/>
            <ac:graphicFrameMk id="8" creationId="{00000000-0008-0000-0100-000002000000}"/>
          </ac:graphicFrameMkLst>
        </pc:graphicFrameChg>
        <pc:graphicFrameChg chg="add mod">
          <ac:chgData name="Michaelsen, Børje" userId="c36523e3-11ed-4011-9a41-1983019c0634" providerId="ADAL" clId="{5A255DFE-C7BD-459E-BCAC-2F1E657FB216}" dt="2024-08-06T13:12:40.871" v="393" actId="1076"/>
          <ac:graphicFrameMkLst>
            <pc:docMk/>
            <pc:sldMk cId="3663715429" sldId="292"/>
            <ac:graphicFrameMk id="9" creationId="{00000000-0008-0000-0300-000003000000}"/>
          </ac:graphicFrameMkLst>
        </pc:graphicFrameChg>
      </pc:sldChg>
      <pc:sldChg chg="addSp delSp modSp mod modNotesTx">
        <pc:chgData name="Michaelsen, Børje" userId="c36523e3-11ed-4011-9a41-1983019c0634" providerId="ADAL" clId="{5A255DFE-C7BD-459E-BCAC-2F1E657FB216}" dt="2024-08-05T09:26:01.090" v="51" actId="1037"/>
        <pc:sldMkLst>
          <pc:docMk/>
          <pc:sldMk cId="559240798" sldId="1093"/>
        </pc:sldMkLst>
        <pc:picChg chg="add mod">
          <ac:chgData name="Michaelsen, Børje" userId="c36523e3-11ed-4011-9a41-1983019c0634" providerId="ADAL" clId="{5A255DFE-C7BD-459E-BCAC-2F1E657FB216}" dt="2024-08-05T09:25:55.818" v="26" actId="1037"/>
          <ac:picMkLst>
            <pc:docMk/>
            <pc:sldMk cId="559240798" sldId="1093"/>
            <ac:picMk id="2" creationId="{333F0582-1B81-2B2D-514C-5392A0CF50B6}"/>
          </ac:picMkLst>
        </pc:picChg>
        <pc:picChg chg="add mod">
          <ac:chgData name="Michaelsen, Børje" userId="c36523e3-11ed-4011-9a41-1983019c0634" providerId="ADAL" clId="{5A255DFE-C7BD-459E-BCAC-2F1E657FB216}" dt="2024-08-05T09:25:49.033" v="9" actId="1037"/>
          <ac:picMkLst>
            <pc:docMk/>
            <pc:sldMk cId="559240798" sldId="1093"/>
            <ac:picMk id="3" creationId="{4589F266-D87D-8F47-5EAD-81677CFEF623}"/>
          </ac:picMkLst>
        </pc:picChg>
        <pc:picChg chg="add mod">
          <ac:chgData name="Michaelsen, Børje" userId="c36523e3-11ed-4011-9a41-1983019c0634" providerId="ADAL" clId="{5A255DFE-C7BD-459E-BCAC-2F1E657FB216}" dt="2024-08-05T09:26:01.090" v="51" actId="1037"/>
          <ac:picMkLst>
            <pc:docMk/>
            <pc:sldMk cId="559240798" sldId="1093"/>
            <ac:picMk id="4" creationId="{500D2BE8-D8AA-E9C4-F713-9CF796726C59}"/>
          </ac:picMkLst>
        </pc:picChg>
        <pc:picChg chg="del">
          <ac:chgData name="Michaelsen, Børje" userId="c36523e3-11ed-4011-9a41-1983019c0634" providerId="ADAL" clId="{5A255DFE-C7BD-459E-BCAC-2F1E657FB216}" dt="2024-08-05T09:25:37.153" v="4" actId="478"/>
          <ac:picMkLst>
            <pc:docMk/>
            <pc:sldMk cId="559240798" sldId="1093"/>
            <ac:picMk id="15" creationId="{A333B292-051C-35FA-CB3A-6C8DDBF7D768}"/>
          </ac:picMkLst>
        </pc:picChg>
        <pc:picChg chg="del">
          <ac:chgData name="Michaelsen, Børje" userId="c36523e3-11ed-4011-9a41-1983019c0634" providerId="ADAL" clId="{5A255DFE-C7BD-459E-BCAC-2F1E657FB216}" dt="2024-08-05T09:25:37.153" v="4" actId="478"/>
          <ac:picMkLst>
            <pc:docMk/>
            <pc:sldMk cId="559240798" sldId="1093"/>
            <ac:picMk id="16" creationId="{FD684063-B4AF-71C3-4ECD-F6658DB936D4}"/>
          </ac:picMkLst>
        </pc:picChg>
        <pc:picChg chg="del">
          <ac:chgData name="Michaelsen, Børje" userId="c36523e3-11ed-4011-9a41-1983019c0634" providerId="ADAL" clId="{5A255DFE-C7BD-459E-BCAC-2F1E657FB216}" dt="2024-08-05T09:25:37.153" v="4" actId="478"/>
          <ac:picMkLst>
            <pc:docMk/>
            <pc:sldMk cId="559240798" sldId="1093"/>
            <ac:picMk id="17" creationId="{B2C037E3-EC8C-6455-CD28-39DBABA2B979}"/>
          </ac:picMkLst>
        </pc:picChg>
      </pc:sldChg>
    </pc:docChg>
  </pc:docChgLst>
  <pc:docChgLst>
    <pc:chgData name="Michaelsen, Børje" userId="S::borje.michaelsen@agderfk.no::c36523e3-11ed-4011-9a41-1983019c0634" providerId="AD" clId="Web-{31E368DC-074D-B528-A87C-4E348777545E}"/>
    <pc:docChg chg="modSld">
      <pc:chgData name="Michaelsen, Børje" userId="S::borje.michaelsen@agderfk.no::c36523e3-11ed-4011-9a41-1983019c0634" providerId="AD" clId="Web-{31E368DC-074D-B528-A87C-4E348777545E}" dt="2024-08-13T13:42:32.079" v="12"/>
      <pc:docMkLst>
        <pc:docMk/>
      </pc:docMkLst>
      <pc:sldChg chg="addSp delSp modSp modNotes">
        <pc:chgData name="Michaelsen, Børje" userId="S::borje.michaelsen@agderfk.no::c36523e3-11ed-4011-9a41-1983019c0634" providerId="AD" clId="Web-{31E368DC-074D-B528-A87C-4E348777545E}" dt="2024-08-13T13:42:32.079" v="12"/>
        <pc:sldMkLst>
          <pc:docMk/>
          <pc:sldMk cId="340623003" sldId="274"/>
        </pc:sldMkLst>
        <pc:spChg chg="mod">
          <ac:chgData name="Michaelsen, Børje" userId="S::borje.michaelsen@agderfk.no::c36523e3-11ed-4011-9a41-1983019c0634" providerId="AD" clId="Web-{31E368DC-074D-B528-A87C-4E348777545E}" dt="2024-08-13T13:41:11.843" v="5" actId="1076"/>
          <ac:spMkLst>
            <pc:docMk/>
            <pc:sldMk cId="340623003" sldId="274"/>
            <ac:spMk id="4" creationId="{00000000-0000-0000-0000-000000000000}"/>
          </ac:spMkLst>
        </pc:spChg>
        <pc:spChg chg="mod">
          <ac:chgData name="Michaelsen, Børje" userId="S::borje.michaelsen@agderfk.no::c36523e3-11ed-4011-9a41-1983019c0634" providerId="AD" clId="Web-{31E368DC-074D-B528-A87C-4E348777545E}" dt="2024-08-13T13:41:14.577" v="6" actId="1076"/>
          <ac:spMkLst>
            <pc:docMk/>
            <pc:sldMk cId="340623003" sldId="274"/>
            <ac:spMk id="8" creationId="{00000000-0000-0000-0000-000000000000}"/>
          </ac:spMkLst>
        </pc:spChg>
        <pc:graphicFrameChg chg="del">
          <ac:chgData name="Michaelsen, Børje" userId="S::borje.michaelsen@agderfk.no::c36523e3-11ed-4011-9a41-1983019c0634" providerId="AD" clId="Web-{31E368DC-074D-B528-A87C-4E348777545E}" dt="2024-08-13T13:40:52.874" v="0"/>
          <ac:graphicFrameMkLst>
            <pc:docMk/>
            <pc:sldMk cId="340623003" sldId="274"/>
            <ac:graphicFrameMk id="7" creationId="{00000000-0008-0000-0100-000002000000}"/>
          </ac:graphicFrameMkLst>
        </pc:graphicFrameChg>
        <pc:picChg chg="add mod">
          <ac:chgData name="Michaelsen, Børje" userId="S::borje.michaelsen@agderfk.no::c36523e3-11ed-4011-9a41-1983019c0634" providerId="AD" clId="Web-{31E368DC-074D-B528-A87C-4E348777545E}" dt="2024-08-13T13:42:07.563" v="8"/>
          <ac:picMkLst>
            <pc:docMk/>
            <pc:sldMk cId="340623003" sldId="274"/>
            <ac:picMk id="6" creationId="{1D5229CC-F532-2D1B-A952-AE8D120E057B}"/>
          </ac:picMkLst>
        </pc:picChg>
      </pc:sldChg>
    </pc:docChg>
  </pc:docChgLst>
  <pc:docChgLst>
    <pc:chgData name="Michaelsen, Børje" userId="c36523e3-11ed-4011-9a41-1983019c0634" providerId="ADAL" clId="{BA52AB2D-98FC-4F94-A9B1-A54CAAD8D6A0}"/>
    <pc:docChg chg="undo custSel addSld delSld modSld">
      <pc:chgData name="Michaelsen, Børje" userId="c36523e3-11ed-4011-9a41-1983019c0634" providerId="ADAL" clId="{BA52AB2D-98FC-4F94-A9B1-A54CAAD8D6A0}" dt="2023-10-10T11:51:46.414" v="1679" actId="13244"/>
      <pc:docMkLst>
        <pc:docMk/>
      </pc:docMkLst>
      <pc:sldChg chg="modSp mod">
        <pc:chgData name="Michaelsen, Børje" userId="c36523e3-11ed-4011-9a41-1983019c0634" providerId="ADAL" clId="{BA52AB2D-98FC-4F94-A9B1-A54CAAD8D6A0}" dt="2023-09-19T10:33:42" v="730" actId="962"/>
        <pc:sldMkLst>
          <pc:docMk/>
          <pc:sldMk cId="1115595437" sldId="256"/>
        </pc:sldMkLst>
        <pc:picChg chg="mod">
          <ac:chgData name="Michaelsen, Børje" userId="c36523e3-11ed-4011-9a41-1983019c0634" providerId="ADAL" clId="{BA52AB2D-98FC-4F94-A9B1-A54CAAD8D6A0}" dt="2023-09-19T10:33:42" v="730" actId="962"/>
          <ac:picMkLst>
            <pc:docMk/>
            <pc:sldMk cId="1115595437" sldId="256"/>
            <ac:picMk id="4" creationId="{00000000-0000-0000-0000-000000000000}"/>
          </ac:picMkLst>
        </pc:picChg>
      </pc:sldChg>
      <pc:sldChg chg="modSp mod modNotesTx">
        <pc:chgData name="Michaelsen, Børje" userId="c36523e3-11ed-4011-9a41-1983019c0634" providerId="ADAL" clId="{BA52AB2D-98FC-4F94-A9B1-A54CAAD8D6A0}" dt="2023-09-19T10:44:25.999" v="1035"/>
        <pc:sldMkLst>
          <pc:docMk/>
          <pc:sldMk cId="1380386693" sldId="260"/>
        </pc:sldMkLst>
        <pc:graphicFrameChg chg="mod modGraphic">
          <ac:chgData name="Michaelsen, Børje" userId="c36523e3-11ed-4011-9a41-1983019c0634" providerId="ADAL" clId="{BA52AB2D-98FC-4F94-A9B1-A54CAAD8D6A0}" dt="2023-09-19T10:34:09.791" v="735" actId="962"/>
          <ac:graphicFrameMkLst>
            <pc:docMk/>
            <pc:sldMk cId="1380386693" sldId="260"/>
            <ac:graphicFrameMk id="3" creationId="{00000000-0000-0000-0000-000000000000}"/>
          </ac:graphicFrameMkLst>
        </pc:graphicFrameChg>
        <pc:graphicFrameChg chg="mod modGraphic">
          <ac:chgData name="Michaelsen, Børje" userId="c36523e3-11ed-4011-9a41-1983019c0634" providerId="ADAL" clId="{BA52AB2D-98FC-4F94-A9B1-A54CAAD8D6A0}" dt="2023-09-19T10:34:49.133" v="745" actId="12385"/>
          <ac:graphicFrameMkLst>
            <pc:docMk/>
            <pc:sldMk cId="1380386693" sldId="260"/>
            <ac:graphicFrameMk id="8" creationId="{00000000-0000-0000-0000-000000000000}"/>
          </ac:graphicFrameMkLst>
        </pc:graphicFrameChg>
        <pc:graphicFrameChg chg="mod ord modGraphic">
          <ac:chgData name="Michaelsen, Børje" userId="c36523e3-11ed-4011-9a41-1983019c0634" providerId="ADAL" clId="{BA52AB2D-98FC-4F94-A9B1-A54CAAD8D6A0}" dt="2023-09-19T10:44:25.999" v="1035"/>
          <ac:graphicFrameMkLst>
            <pc:docMk/>
            <pc:sldMk cId="1380386693" sldId="260"/>
            <ac:graphicFrameMk id="9" creationId="{00000000-0000-0000-0000-000000000000}"/>
          </ac:graphicFrameMkLst>
        </pc:graphicFrameChg>
        <pc:graphicFrameChg chg="mod ord modGraphic">
          <ac:chgData name="Michaelsen, Børje" userId="c36523e3-11ed-4011-9a41-1983019c0634" providerId="ADAL" clId="{BA52AB2D-98FC-4F94-A9B1-A54CAAD8D6A0}" dt="2023-09-19T10:44:23.730" v="1034"/>
          <ac:graphicFrameMkLst>
            <pc:docMk/>
            <pc:sldMk cId="1380386693" sldId="260"/>
            <ac:graphicFrameMk id="10" creationId="{00000000-0000-0000-0000-000000000000}"/>
          </ac:graphicFrameMkLst>
        </pc:graphicFrameChg>
        <pc:picChg chg="mod ord">
          <ac:chgData name="Michaelsen, Børje" userId="c36523e3-11ed-4011-9a41-1983019c0634" providerId="ADAL" clId="{BA52AB2D-98FC-4F94-A9B1-A54CAAD8D6A0}" dt="2023-09-19T10:44:17.929" v="1032" actId="13244"/>
          <ac:picMkLst>
            <pc:docMk/>
            <pc:sldMk cId="1380386693" sldId="260"/>
            <ac:picMk id="4" creationId="{00000000-0000-0000-0000-000000000000}"/>
          </ac:picMkLst>
        </pc:picChg>
        <pc:picChg chg="mod">
          <ac:chgData name="Michaelsen, Børje" userId="c36523e3-11ed-4011-9a41-1983019c0634" providerId="ADAL" clId="{BA52AB2D-98FC-4F94-A9B1-A54CAAD8D6A0}" dt="2023-09-19T10:34:43.295" v="743" actId="962"/>
          <ac:picMkLst>
            <pc:docMk/>
            <pc:sldMk cId="1380386693" sldId="260"/>
            <ac:picMk id="6" creationId="{00000000-0000-0000-0000-000000000000}"/>
          </ac:picMkLst>
        </pc:picChg>
      </pc:sldChg>
      <pc:sldChg chg="modSp mod">
        <pc:chgData name="Michaelsen, Børje" userId="c36523e3-11ed-4011-9a41-1983019c0634" providerId="ADAL" clId="{BA52AB2D-98FC-4F94-A9B1-A54CAAD8D6A0}" dt="2023-09-19T10:38:50.017" v="937" actId="962"/>
        <pc:sldMkLst>
          <pc:docMk/>
          <pc:sldMk cId="1502201355" sldId="262"/>
        </pc:sldMkLst>
        <pc:picChg chg="mod">
          <ac:chgData name="Michaelsen, Børje" userId="c36523e3-11ed-4011-9a41-1983019c0634" providerId="ADAL" clId="{BA52AB2D-98FC-4F94-A9B1-A54CAAD8D6A0}" dt="2023-09-19T10:38:39.272" v="930" actId="962"/>
          <ac:picMkLst>
            <pc:docMk/>
            <pc:sldMk cId="1502201355" sldId="262"/>
            <ac:picMk id="4" creationId="{00000000-0000-0000-0000-000000000000}"/>
          </ac:picMkLst>
        </pc:picChg>
        <pc:picChg chg="mod">
          <ac:chgData name="Michaelsen, Børje" userId="c36523e3-11ed-4011-9a41-1983019c0634" providerId="ADAL" clId="{BA52AB2D-98FC-4F94-A9B1-A54CAAD8D6A0}" dt="2023-09-19T10:38:41.016" v="931" actId="962"/>
          <ac:picMkLst>
            <pc:docMk/>
            <pc:sldMk cId="1502201355" sldId="262"/>
            <ac:picMk id="5" creationId="{00000000-0000-0000-0000-000000000000}"/>
          </ac:picMkLst>
        </pc:picChg>
        <pc:picChg chg="mod">
          <ac:chgData name="Michaelsen, Børje" userId="c36523e3-11ed-4011-9a41-1983019c0634" providerId="ADAL" clId="{BA52AB2D-98FC-4F94-A9B1-A54CAAD8D6A0}" dt="2023-09-19T10:38:42.361" v="932" actId="962"/>
          <ac:picMkLst>
            <pc:docMk/>
            <pc:sldMk cId="1502201355" sldId="262"/>
            <ac:picMk id="6" creationId="{00000000-0000-0000-0000-000000000000}"/>
          </ac:picMkLst>
        </pc:picChg>
        <pc:picChg chg="mod">
          <ac:chgData name="Michaelsen, Børje" userId="c36523e3-11ed-4011-9a41-1983019c0634" providerId="ADAL" clId="{BA52AB2D-98FC-4F94-A9B1-A54CAAD8D6A0}" dt="2023-09-19T10:38:44.211" v="933" actId="962"/>
          <ac:picMkLst>
            <pc:docMk/>
            <pc:sldMk cId="1502201355" sldId="262"/>
            <ac:picMk id="7" creationId="{00000000-0000-0000-0000-000000000000}"/>
          </ac:picMkLst>
        </pc:picChg>
        <pc:picChg chg="mod">
          <ac:chgData name="Michaelsen, Børje" userId="c36523e3-11ed-4011-9a41-1983019c0634" providerId="ADAL" clId="{BA52AB2D-98FC-4F94-A9B1-A54CAAD8D6A0}" dt="2023-09-19T10:38:45.688" v="934" actId="962"/>
          <ac:picMkLst>
            <pc:docMk/>
            <pc:sldMk cId="1502201355" sldId="262"/>
            <ac:picMk id="8" creationId="{00000000-0000-0000-0000-000000000000}"/>
          </ac:picMkLst>
        </pc:picChg>
        <pc:picChg chg="mod">
          <ac:chgData name="Michaelsen, Børje" userId="c36523e3-11ed-4011-9a41-1983019c0634" providerId="ADAL" clId="{BA52AB2D-98FC-4F94-A9B1-A54CAAD8D6A0}" dt="2023-09-19T10:38:46.923" v="935" actId="962"/>
          <ac:picMkLst>
            <pc:docMk/>
            <pc:sldMk cId="1502201355" sldId="262"/>
            <ac:picMk id="9" creationId="{00000000-0000-0000-0000-000000000000}"/>
          </ac:picMkLst>
        </pc:picChg>
        <pc:picChg chg="mod">
          <ac:chgData name="Michaelsen, Børje" userId="c36523e3-11ed-4011-9a41-1983019c0634" providerId="ADAL" clId="{BA52AB2D-98FC-4F94-A9B1-A54CAAD8D6A0}" dt="2023-09-19T10:38:48.265" v="936" actId="962"/>
          <ac:picMkLst>
            <pc:docMk/>
            <pc:sldMk cId="1502201355" sldId="262"/>
            <ac:picMk id="10" creationId="{00000000-0000-0000-0000-000000000000}"/>
          </ac:picMkLst>
        </pc:picChg>
        <pc:picChg chg="mod">
          <ac:chgData name="Michaelsen, Børje" userId="c36523e3-11ed-4011-9a41-1983019c0634" providerId="ADAL" clId="{BA52AB2D-98FC-4F94-A9B1-A54CAAD8D6A0}" dt="2023-09-19T10:38:50.017" v="937" actId="962"/>
          <ac:picMkLst>
            <pc:docMk/>
            <pc:sldMk cId="1502201355" sldId="262"/>
            <ac:picMk id="11" creationId="{00000000-0000-0000-0000-000000000000}"/>
          </ac:picMkLst>
        </pc:picChg>
      </pc:sldChg>
      <pc:sldChg chg="addSp delSp modSp mod">
        <pc:chgData name="Michaelsen, Børje" userId="c36523e3-11ed-4011-9a41-1983019c0634" providerId="ADAL" clId="{BA52AB2D-98FC-4F94-A9B1-A54CAAD8D6A0}" dt="2023-09-19T10:47:10.656" v="1098"/>
        <pc:sldMkLst>
          <pc:docMk/>
          <pc:sldMk cId="3237931907" sldId="263"/>
        </pc:sldMkLst>
        <pc:spChg chg="mod">
          <ac:chgData name="Michaelsen, Børje" userId="c36523e3-11ed-4011-9a41-1983019c0634" providerId="ADAL" clId="{BA52AB2D-98FC-4F94-A9B1-A54CAAD8D6A0}" dt="2023-09-19T10:47:06.470" v="1097" actId="1076"/>
          <ac:spMkLst>
            <pc:docMk/>
            <pc:sldMk cId="3237931907" sldId="263"/>
            <ac:spMk id="2" creationId="{00000000-0000-0000-0000-000000000000}"/>
          </ac:spMkLst>
        </pc:spChg>
        <pc:spChg chg="mod">
          <ac:chgData name="Michaelsen, Børje" userId="c36523e3-11ed-4011-9a41-1983019c0634" providerId="ADAL" clId="{BA52AB2D-98FC-4F94-A9B1-A54CAAD8D6A0}" dt="2023-09-13T12:21:51.591" v="685" actId="6549"/>
          <ac:spMkLst>
            <pc:docMk/>
            <pc:sldMk cId="3237931907" sldId="263"/>
            <ac:spMk id="10" creationId="{00000000-0000-0000-0000-000000000000}"/>
          </ac:spMkLst>
        </pc:spChg>
        <pc:graphicFrameChg chg="del">
          <ac:chgData name="Michaelsen, Børje" userId="c36523e3-11ed-4011-9a41-1983019c0634" providerId="ADAL" clId="{BA52AB2D-98FC-4F94-A9B1-A54CAAD8D6A0}" dt="2023-09-13T12:23:15.008" v="692" actId="478"/>
          <ac:graphicFrameMkLst>
            <pc:docMk/>
            <pc:sldMk cId="3237931907" sldId="263"/>
            <ac:graphicFrameMk id="3" creationId="{00000000-0000-0000-0000-000000000000}"/>
          </ac:graphicFrameMkLst>
        </pc:graphicFrameChg>
        <pc:graphicFrameChg chg="add mod">
          <ac:chgData name="Michaelsen, Børje" userId="c36523e3-11ed-4011-9a41-1983019c0634" providerId="ADAL" clId="{BA52AB2D-98FC-4F94-A9B1-A54CAAD8D6A0}" dt="2023-09-13T12:20:12.493" v="544"/>
          <ac:graphicFrameMkLst>
            <pc:docMk/>
            <pc:sldMk cId="3237931907" sldId="263"/>
            <ac:graphicFrameMk id="4" creationId="{24E4A504-A222-3225-2904-7772932E33DE}"/>
          </ac:graphicFrameMkLst>
        </pc:graphicFrameChg>
        <pc:graphicFrameChg chg="add mod">
          <ac:chgData name="Michaelsen, Børje" userId="c36523e3-11ed-4011-9a41-1983019c0634" providerId="ADAL" clId="{BA52AB2D-98FC-4F94-A9B1-A54CAAD8D6A0}" dt="2023-09-19T10:47:10.656" v="1098"/>
          <ac:graphicFrameMkLst>
            <pc:docMk/>
            <pc:sldMk cId="3237931907" sldId="263"/>
            <ac:graphicFrameMk id="5" creationId="{900796C7-9568-AA7D-48B1-D162673FAB3E}"/>
          </ac:graphicFrameMkLst>
        </pc:graphicFrameChg>
        <pc:graphicFrameChg chg="add mod">
          <ac:chgData name="Michaelsen, Børje" userId="c36523e3-11ed-4011-9a41-1983019c0634" providerId="ADAL" clId="{BA52AB2D-98FC-4F94-A9B1-A54CAAD8D6A0}" dt="2023-09-19T10:37:14.110" v="880" actId="962"/>
          <ac:graphicFrameMkLst>
            <pc:docMk/>
            <pc:sldMk cId="3237931907" sldId="263"/>
            <ac:graphicFrameMk id="6" creationId="{E5C71C2E-AF53-CAD5-0770-CF80592B48C1}"/>
          </ac:graphicFrameMkLst>
        </pc:graphicFrameChg>
        <pc:graphicFrameChg chg="add mod modGraphic">
          <ac:chgData name="Michaelsen, Børje" userId="c36523e3-11ed-4011-9a41-1983019c0634" providerId="ADAL" clId="{BA52AB2D-98FC-4F94-A9B1-A54CAAD8D6A0}" dt="2023-09-19T10:43:54.472" v="1030" actId="113"/>
          <ac:graphicFrameMkLst>
            <pc:docMk/>
            <pc:sldMk cId="3237931907" sldId="263"/>
            <ac:graphicFrameMk id="7" creationId="{7ECEF3A2-74B9-417B-03AB-12C6B3F66D7A}"/>
          </ac:graphicFrameMkLst>
        </pc:graphicFrameChg>
        <pc:graphicFrameChg chg="add del">
          <ac:chgData name="Michaelsen, Børje" userId="c36523e3-11ed-4011-9a41-1983019c0634" providerId="ADAL" clId="{BA52AB2D-98FC-4F94-A9B1-A54CAAD8D6A0}" dt="2023-09-13T12:20:28.876" v="546" actId="478"/>
          <ac:graphicFrameMkLst>
            <pc:docMk/>
            <pc:sldMk cId="3237931907" sldId="263"/>
            <ac:graphicFrameMk id="8" creationId="{00000000-0008-0000-0100-000002000000}"/>
          </ac:graphicFrameMkLst>
        </pc:graphicFrameChg>
        <pc:graphicFrameChg chg="del">
          <ac:chgData name="Michaelsen, Børje" userId="c36523e3-11ed-4011-9a41-1983019c0634" providerId="ADAL" clId="{BA52AB2D-98FC-4F94-A9B1-A54CAAD8D6A0}" dt="2023-09-13T12:22:13.068" v="686" actId="478"/>
          <ac:graphicFrameMkLst>
            <pc:docMk/>
            <pc:sldMk cId="3237931907" sldId="263"/>
            <ac:graphicFrameMk id="11" creationId="{00000000-0008-0000-0100-000005000000}"/>
          </ac:graphicFrameMkLst>
        </pc:graphicFrameChg>
      </pc:sldChg>
      <pc:sldChg chg="modSp mod">
        <pc:chgData name="Michaelsen, Børje" userId="c36523e3-11ed-4011-9a41-1983019c0634" providerId="ADAL" clId="{BA52AB2D-98FC-4F94-A9B1-A54CAAD8D6A0}" dt="2023-09-19T10:43:13.387" v="1022" actId="962"/>
        <pc:sldMkLst>
          <pc:docMk/>
          <pc:sldMk cId="445425979" sldId="264"/>
        </pc:sldMkLst>
        <pc:picChg chg="mod">
          <ac:chgData name="Michaelsen, Børje" userId="c36523e3-11ed-4011-9a41-1983019c0634" providerId="ADAL" clId="{BA52AB2D-98FC-4F94-A9B1-A54CAAD8D6A0}" dt="2023-09-19T10:43:08.169" v="1019" actId="962"/>
          <ac:picMkLst>
            <pc:docMk/>
            <pc:sldMk cId="445425979" sldId="264"/>
            <ac:picMk id="4" creationId="{00000000-0000-0000-0000-000000000000}"/>
          </ac:picMkLst>
        </pc:picChg>
        <pc:picChg chg="mod">
          <ac:chgData name="Michaelsen, Børje" userId="c36523e3-11ed-4011-9a41-1983019c0634" providerId="ADAL" clId="{BA52AB2D-98FC-4F94-A9B1-A54CAAD8D6A0}" dt="2023-09-19T10:43:09.848" v="1020" actId="962"/>
          <ac:picMkLst>
            <pc:docMk/>
            <pc:sldMk cId="445425979" sldId="264"/>
            <ac:picMk id="5" creationId="{00000000-0000-0000-0000-000000000000}"/>
          </ac:picMkLst>
        </pc:picChg>
        <pc:picChg chg="mod">
          <ac:chgData name="Michaelsen, Børje" userId="c36523e3-11ed-4011-9a41-1983019c0634" providerId="ADAL" clId="{BA52AB2D-98FC-4F94-A9B1-A54CAAD8D6A0}" dt="2023-09-19T10:43:11.713" v="1021" actId="962"/>
          <ac:picMkLst>
            <pc:docMk/>
            <pc:sldMk cId="445425979" sldId="264"/>
            <ac:picMk id="6" creationId="{00000000-0000-0000-0000-000000000000}"/>
          </ac:picMkLst>
        </pc:picChg>
        <pc:picChg chg="mod">
          <ac:chgData name="Michaelsen, Børje" userId="c36523e3-11ed-4011-9a41-1983019c0634" providerId="ADAL" clId="{BA52AB2D-98FC-4F94-A9B1-A54CAAD8D6A0}" dt="2023-09-19T10:43:13.387" v="1022" actId="962"/>
          <ac:picMkLst>
            <pc:docMk/>
            <pc:sldMk cId="445425979" sldId="264"/>
            <ac:picMk id="7" creationId="{00000000-0000-0000-0000-000000000000}"/>
          </ac:picMkLst>
        </pc:picChg>
      </pc:sldChg>
      <pc:sldChg chg="modSp mod">
        <pc:chgData name="Michaelsen, Børje" userId="c36523e3-11ed-4011-9a41-1983019c0634" providerId="ADAL" clId="{BA52AB2D-98FC-4F94-A9B1-A54CAAD8D6A0}" dt="2023-09-19T10:38:35.706" v="928" actId="962"/>
        <pc:sldMkLst>
          <pc:docMk/>
          <pc:sldMk cId="2441531406" sldId="267"/>
        </pc:sldMkLst>
        <pc:picChg chg="mod">
          <ac:chgData name="Michaelsen, Børje" userId="c36523e3-11ed-4011-9a41-1983019c0634" providerId="ADAL" clId="{BA52AB2D-98FC-4F94-A9B1-A54CAAD8D6A0}" dt="2023-09-19T10:38:30.872" v="925" actId="962"/>
          <ac:picMkLst>
            <pc:docMk/>
            <pc:sldMk cId="2441531406" sldId="267"/>
            <ac:picMk id="4" creationId="{00000000-0000-0000-0000-000000000000}"/>
          </ac:picMkLst>
        </pc:picChg>
        <pc:picChg chg="mod">
          <ac:chgData name="Michaelsen, Børje" userId="c36523e3-11ed-4011-9a41-1983019c0634" providerId="ADAL" clId="{BA52AB2D-98FC-4F94-A9B1-A54CAAD8D6A0}" dt="2023-09-19T10:38:32.482" v="926" actId="962"/>
          <ac:picMkLst>
            <pc:docMk/>
            <pc:sldMk cId="2441531406" sldId="267"/>
            <ac:picMk id="5" creationId="{00000000-0000-0000-0000-000000000000}"/>
          </ac:picMkLst>
        </pc:picChg>
        <pc:picChg chg="mod">
          <ac:chgData name="Michaelsen, Børje" userId="c36523e3-11ed-4011-9a41-1983019c0634" providerId="ADAL" clId="{BA52AB2D-98FC-4F94-A9B1-A54CAAD8D6A0}" dt="2023-09-19T10:38:33.930" v="927" actId="962"/>
          <ac:picMkLst>
            <pc:docMk/>
            <pc:sldMk cId="2441531406" sldId="267"/>
            <ac:picMk id="6" creationId="{00000000-0000-0000-0000-000000000000}"/>
          </ac:picMkLst>
        </pc:picChg>
        <pc:picChg chg="mod">
          <ac:chgData name="Michaelsen, Børje" userId="c36523e3-11ed-4011-9a41-1983019c0634" providerId="ADAL" clId="{BA52AB2D-98FC-4F94-A9B1-A54CAAD8D6A0}" dt="2023-09-19T10:38:35.706" v="928" actId="962"/>
          <ac:picMkLst>
            <pc:docMk/>
            <pc:sldMk cId="2441531406" sldId="267"/>
            <ac:picMk id="7" creationId="{00000000-0000-0000-0000-000000000000}"/>
          </ac:picMkLst>
        </pc:picChg>
      </pc:sldChg>
      <pc:sldChg chg="addSp modSp mod">
        <pc:chgData name="Michaelsen, Børje" userId="c36523e3-11ed-4011-9a41-1983019c0634" providerId="ADAL" clId="{BA52AB2D-98FC-4F94-A9B1-A54CAAD8D6A0}" dt="2023-09-29T13:14:24.604" v="1544"/>
        <pc:sldMkLst>
          <pc:docMk/>
          <pc:sldMk cId="394652420" sldId="268"/>
        </pc:sldMkLst>
        <pc:spChg chg="add mod">
          <ac:chgData name="Michaelsen, Børje" userId="c36523e3-11ed-4011-9a41-1983019c0634" providerId="ADAL" clId="{BA52AB2D-98FC-4F94-A9B1-A54CAAD8D6A0}" dt="2023-09-29T13:14:24.604" v="1544"/>
          <ac:spMkLst>
            <pc:docMk/>
            <pc:sldMk cId="394652420" sldId="268"/>
            <ac:spMk id="6" creationId="{F678D4D1-44BB-7740-E2AA-366E218E16D4}"/>
          </ac:spMkLst>
        </pc:spChg>
        <pc:picChg chg="mod ord">
          <ac:chgData name="Michaelsen, Børje" userId="c36523e3-11ed-4011-9a41-1983019c0634" providerId="ADAL" clId="{BA52AB2D-98FC-4F94-A9B1-A54CAAD8D6A0}" dt="2023-09-19T10:49:18.249" v="1124"/>
          <ac:picMkLst>
            <pc:docMk/>
            <pc:sldMk cId="394652420" sldId="268"/>
            <ac:picMk id="4" creationId="{00000000-0000-0000-0000-000000000000}"/>
          </ac:picMkLst>
        </pc:picChg>
      </pc:sldChg>
      <pc:sldChg chg="addSp delSp modSp mod modNotesTx">
        <pc:chgData name="Michaelsen, Børje" userId="c36523e3-11ed-4011-9a41-1983019c0634" providerId="ADAL" clId="{BA52AB2D-98FC-4F94-A9B1-A54CAAD8D6A0}" dt="2023-09-19T10:49:33.048" v="1131" actId="962"/>
        <pc:sldMkLst>
          <pc:docMk/>
          <pc:sldMk cId="1763573476" sldId="269"/>
        </pc:sldMkLst>
        <pc:spChg chg="mod">
          <ac:chgData name="Michaelsen, Børje" userId="c36523e3-11ed-4011-9a41-1983019c0634" providerId="ADAL" clId="{BA52AB2D-98FC-4F94-A9B1-A54CAAD8D6A0}" dt="2023-08-30T07:36:10.108" v="123" actId="14100"/>
          <ac:spMkLst>
            <pc:docMk/>
            <pc:sldMk cId="1763573476" sldId="269"/>
            <ac:spMk id="3" creationId="{00000000-0000-0000-0000-000000000000}"/>
          </ac:spMkLst>
        </pc:spChg>
        <pc:spChg chg="add mod">
          <ac:chgData name="Michaelsen, Børje" userId="c36523e3-11ed-4011-9a41-1983019c0634" providerId="ADAL" clId="{BA52AB2D-98FC-4F94-A9B1-A54CAAD8D6A0}" dt="2023-08-30T07:36:20.964" v="141" actId="1035"/>
          <ac:spMkLst>
            <pc:docMk/>
            <pc:sldMk cId="1763573476" sldId="269"/>
            <ac:spMk id="4" creationId="{0869E888-2E18-3D55-4E60-D79BBED42385}"/>
          </ac:spMkLst>
        </pc:spChg>
        <pc:graphicFrameChg chg="add mod">
          <ac:chgData name="Michaelsen, Børje" userId="c36523e3-11ed-4011-9a41-1983019c0634" providerId="ADAL" clId="{BA52AB2D-98FC-4F94-A9B1-A54CAAD8D6A0}" dt="2023-09-19T10:49:26.649" v="1125"/>
          <ac:graphicFrameMkLst>
            <pc:docMk/>
            <pc:sldMk cId="1763573476" sldId="269"/>
            <ac:graphicFrameMk id="6" creationId="{CF391B4A-2247-2CEB-22F0-CBC397031A32}"/>
          </ac:graphicFrameMkLst>
        </pc:graphicFrameChg>
        <pc:picChg chg="del">
          <ac:chgData name="Michaelsen, Børje" userId="c36523e3-11ed-4011-9a41-1983019c0634" providerId="ADAL" clId="{BA52AB2D-98FC-4F94-A9B1-A54CAAD8D6A0}" dt="2023-08-30T07:36:24.870" v="142" actId="478"/>
          <ac:picMkLst>
            <pc:docMk/>
            <pc:sldMk cId="1763573476" sldId="269"/>
            <ac:picMk id="5" creationId="{00000000-0000-0000-0000-000000000000}"/>
          </ac:picMkLst>
        </pc:picChg>
        <pc:picChg chg="add mod">
          <ac:chgData name="Michaelsen, Børje" userId="c36523e3-11ed-4011-9a41-1983019c0634" providerId="ADAL" clId="{BA52AB2D-98FC-4F94-A9B1-A54CAAD8D6A0}" dt="2023-09-19T10:49:29.650" v="1126" actId="962"/>
          <ac:picMkLst>
            <pc:docMk/>
            <pc:sldMk cId="1763573476" sldId="269"/>
            <ac:picMk id="7" creationId="{124290E4-3D92-931E-286B-B85FB671A5A8}"/>
          </ac:picMkLst>
        </pc:picChg>
        <pc:picChg chg="add mod">
          <ac:chgData name="Michaelsen, Børje" userId="c36523e3-11ed-4011-9a41-1983019c0634" providerId="ADAL" clId="{BA52AB2D-98FC-4F94-A9B1-A54CAAD8D6A0}" dt="2023-09-19T10:49:30.167" v="1127" actId="962"/>
          <ac:picMkLst>
            <pc:docMk/>
            <pc:sldMk cId="1763573476" sldId="269"/>
            <ac:picMk id="8" creationId="{A9BE8DBC-C505-451F-F43A-332B9314D642}"/>
          </ac:picMkLst>
        </pc:picChg>
        <pc:picChg chg="add mod">
          <ac:chgData name="Michaelsen, Børje" userId="c36523e3-11ed-4011-9a41-1983019c0634" providerId="ADAL" clId="{BA52AB2D-98FC-4F94-A9B1-A54CAAD8D6A0}" dt="2023-09-19T10:49:30.745" v="1128" actId="962"/>
          <ac:picMkLst>
            <pc:docMk/>
            <pc:sldMk cId="1763573476" sldId="269"/>
            <ac:picMk id="9" creationId="{B587BB7E-8572-1A80-5302-2687D1490CF2}"/>
          </ac:picMkLst>
        </pc:picChg>
        <pc:picChg chg="add mod">
          <ac:chgData name="Michaelsen, Børje" userId="c36523e3-11ed-4011-9a41-1983019c0634" providerId="ADAL" clId="{BA52AB2D-98FC-4F94-A9B1-A54CAAD8D6A0}" dt="2023-09-19T10:49:31.617" v="1129" actId="962"/>
          <ac:picMkLst>
            <pc:docMk/>
            <pc:sldMk cId="1763573476" sldId="269"/>
            <ac:picMk id="10" creationId="{F1FEE35B-0B33-A1F9-A8A6-AC62BD70183B}"/>
          </ac:picMkLst>
        </pc:picChg>
        <pc:picChg chg="add mod">
          <ac:chgData name="Michaelsen, Børje" userId="c36523e3-11ed-4011-9a41-1983019c0634" providerId="ADAL" clId="{BA52AB2D-98FC-4F94-A9B1-A54CAAD8D6A0}" dt="2023-09-19T10:49:32.192" v="1130" actId="962"/>
          <ac:picMkLst>
            <pc:docMk/>
            <pc:sldMk cId="1763573476" sldId="269"/>
            <ac:picMk id="11" creationId="{4D3B195F-375E-CDE7-7A31-20B4DB96B2A9}"/>
          </ac:picMkLst>
        </pc:picChg>
        <pc:picChg chg="add mod">
          <ac:chgData name="Michaelsen, Børje" userId="c36523e3-11ed-4011-9a41-1983019c0634" providerId="ADAL" clId="{BA52AB2D-98FC-4F94-A9B1-A54CAAD8D6A0}" dt="2023-09-19T10:49:33.048" v="1131" actId="962"/>
          <ac:picMkLst>
            <pc:docMk/>
            <pc:sldMk cId="1763573476" sldId="269"/>
            <ac:picMk id="12" creationId="{2A2F51B5-E6E1-0E28-053D-158BAD143F90}"/>
          </ac:picMkLst>
        </pc:picChg>
      </pc:sldChg>
      <pc:sldChg chg="addSp delSp modSp mod">
        <pc:chgData name="Michaelsen, Børje" userId="c36523e3-11ed-4011-9a41-1983019c0634" providerId="ADAL" clId="{BA52AB2D-98FC-4F94-A9B1-A54CAAD8D6A0}" dt="2023-09-19T10:43:38.128" v="1028" actId="12385"/>
        <pc:sldMkLst>
          <pc:docMk/>
          <pc:sldMk cId="1348694183" sldId="272"/>
        </pc:sldMkLst>
        <pc:spChg chg="del">
          <ac:chgData name="Michaelsen, Børje" userId="c36523e3-11ed-4011-9a41-1983019c0634" providerId="ADAL" clId="{BA52AB2D-98FC-4F94-A9B1-A54CAAD8D6A0}" dt="2023-08-28T07:18:31.513" v="65" actId="478"/>
          <ac:spMkLst>
            <pc:docMk/>
            <pc:sldMk cId="1348694183" sldId="272"/>
            <ac:spMk id="7" creationId="{00000000-0000-0000-0000-000000000000}"/>
          </ac:spMkLst>
        </pc:spChg>
        <pc:spChg chg="add mod">
          <ac:chgData name="Michaelsen, Børje" userId="c36523e3-11ed-4011-9a41-1983019c0634" providerId="ADAL" clId="{BA52AB2D-98FC-4F94-A9B1-A54CAAD8D6A0}" dt="2023-08-28T07:18:58.895" v="72" actId="1036"/>
          <ac:spMkLst>
            <pc:docMk/>
            <pc:sldMk cId="1348694183" sldId="272"/>
            <ac:spMk id="8" creationId="{6AA3FE37-C265-96AA-8008-EE89CF86C0C3}"/>
          </ac:spMkLst>
        </pc:spChg>
        <pc:graphicFrameChg chg="mod modGraphic">
          <ac:chgData name="Michaelsen, Børje" userId="c36523e3-11ed-4011-9a41-1983019c0634" providerId="ADAL" clId="{BA52AB2D-98FC-4F94-A9B1-A54CAAD8D6A0}" dt="2023-09-19T10:43:38.128" v="1028" actId="12385"/>
          <ac:graphicFrameMkLst>
            <pc:docMk/>
            <pc:sldMk cId="1348694183" sldId="272"/>
            <ac:graphicFrameMk id="6" creationId="{00000000-0000-0000-0000-000000000000}"/>
          </ac:graphicFrameMkLst>
        </pc:graphicFrameChg>
        <pc:picChg chg="del">
          <ac:chgData name="Michaelsen, Børje" userId="c36523e3-11ed-4011-9a41-1983019c0634" providerId="ADAL" clId="{BA52AB2D-98FC-4F94-A9B1-A54CAAD8D6A0}" dt="2023-08-28T07:18:34.039" v="66" actId="478"/>
          <ac:picMkLst>
            <pc:docMk/>
            <pc:sldMk cId="1348694183" sldId="272"/>
            <ac:picMk id="3" creationId="{00000000-0000-0000-0000-000000000000}"/>
          </ac:picMkLst>
        </pc:picChg>
        <pc:picChg chg="add mod">
          <ac:chgData name="Michaelsen, Børje" userId="c36523e3-11ed-4011-9a41-1983019c0634" providerId="ADAL" clId="{BA52AB2D-98FC-4F94-A9B1-A54CAAD8D6A0}" dt="2023-09-19T10:36:23.379" v="834" actId="962"/>
          <ac:picMkLst>
            <pc:docMk/>
            <pc:sldMk cId="1348694183" sldId="272"/>
            <ac:picMk id="4" creationId="{FB2F211E-5457-441C-7209-D181DAD915EF}"/>
          </ac:picMkLst>
        </pc:picChg>
      </pc:sldChg>
      <pc:sldChg chg="modSp mod">
        <pc:chgData name="Michaelsen, Børje" userId="c36523e3-11ed-4011-9a41-1983019c0634" providerId="ADAL" clId="{BA52AB2D-98FC-4F94-A9B1-A54CAAD8D6A0}" dt="2023-09-22T08:46:36.544" v="1171" actId="962"/>
        <pc:sldMkLst>
          <pc:docMk/>
          <pc:sldMk cId="2044844844" sldId="273"/>
        </pc:sldMkLst>
        <pc:spChg chg="mod">
          <ac:chgData name="Michaelsen, Børje" userId="c36523e3-11ed-4011-9a41-1983019c0634" providerId="ADAL" clId="{BA52AB2D-98FC-4F94-A9B1-A54CAAD8D6A0}" dt="2023-09-19T10:35:36.414" v="790" actId="120"/>
          <ac:spMkLst>
            <pc:docMk/>
            <pc:sldMk cId="2044844844" sldId="273"/>
            <ac:spMk id="2" creationId="{00000000-0000-0000-0000-000000000000}"/>
          </ac:spMkLst>
        </pc:spChg>
        <pc:spChg chg="ord">
          <ac:chgData name="Michaelsen, Børje" userId="c36523e3-11ed-4011-9a41-1983019c0634" providerId="ADAL" clId="{BA52AB2D-98FC-4F94-A9B1-A54CAAD8D6A0}" dt="2023-09-19T10:44:50.713" v="1040"/>
          <ac:spMkLst>
            <pc:docMk/>
            <pc:sldMk cId="2044844844" sldId="273"/>
            <ac:spMk id="5" creationId="{00000000-0000-0000-0000-000000000000}"/>
          </ac:spMkLst>
        </pc:spChg>
        <pc:picChg chg="mod">
          <ac:chgData name="Michaelsen, Børje" userId="c36523e3-11ed-4011-9a41-1983019c0634" providerId="ADAL" clId="{BA52AB2D-98FC-4F94-A9B1-A54CAAD8D6A0}" dt="2023-09-22T08:46:36.544" v="1171" actId="962"/>
          <ac:picMkLst>
            <pc:docMk/>
            <pc:sldMk cId="2044844844" sldId="273"/>
            <ac:picMk id="4" creationId="{00000000-0000-0000-0000-000000000000}"/>
          </ac:picMkLst>
        </pc:picChg>
      </pc:sldChg>
      <pc:sldChg chg="addSp modSp mod">
        <pc:chgData name="Michaelsen, Børje" userId="c36523e3-11ed-4011-9a41-1983019c0634" providerId="ADAL" clId="{BA52AB2D-98FC-4F94-A9B1-A54CAAD8D6A0}" dt="2023-09-29T13:13:32.565" v="1520"/>
        <pc:sldMkLst>
          <pc:docMk/>
          <pc:sldMk cId="340623003" sldId="274"/>
        </pc:sldMkLst>
        <pc:spChg chg="mod">
          <ac:chgData name="Michaelsen, Børje" userId="c36523e3-11ed-4011-9a41-1983019c0634" providerId="ADAL" clId="{BA52AB2D-98FC-4F94-A9B1-A54CAAD8D6A0}" dt="2023-09-19T10:44:34.526" v="1036" actId="1076"/>
          <ac:spMkLst>
            <pc:docMk/>
            <pc:sldMk cId="340623003" sldId="274"/>
            <ac:spMk id="2" creationId="{00000000-0000-0000-0000-000000000000}"/>
          </ac:spMkLst>
        </pc:spChg>
        <pc:spChg chg="add mod">
          <ac:chgData name="Michaelsen, Børje" userId="c36523e3-11ed-4011-9a41-1983019c0634" providerId="ADAL" clId="{BA52AB2D-98FC-4F94-A9B1-A54CAAD8D6A0}" dt="2023-09-29T13:13:32.565" v="1520"/>
          <ac:spMkLst>
            <pc:docMk/>
            <pc:sldMk cId="340623003" sldId="274"/>
            <ac:spMk id="5" creationId="{6C9B66F4-BE42-6EAE-8E7C-40E98127D001}"/>
          </ac:spMkLst>
        </pc:spChg>
        <pc:graphicFrameChg chg="mod">
          <ac:chgData name="Michaelsen, Børje" userId="c36523e3-11ed-4011-9a41-1983019c0634" providerId="ADAL" clId="{BA52AB2D-98FC-4F94-A9B1-A54CAAD8D6A0}" dt="2023-09-19T10:44:39.863" v="1038"/>
          <ac:graphicFrameMkLst>
            <pc:docMk/>
            <pc:sldMk cId="340623003" sldId="274"/>
            <ac:graphicFrameMk id="7" creationId="{00000000-0008-0000-0100-000002000000}"/>
          </ac:graphicFrameMkLst>
        </pc:graphicFrameChg>
        <pc:picChg chg="mod ord">
          <ac:chgData name="Michaelsen, Børje" userId="c36523e3-11ed-4011-9a41-1983019c0634" providerId="ADAL" clId="{BA52AB2D-98FC-4F94-A9B1-A54CAAD8D6A0}" dt="2023-09-19T10:44:44.083" v="1039"/>
          <ac:picMkLst>
            <pc:docMk/>
            <pc:sldMk cId="340623003" sldId="274"/>
            <ac:picMk id="3" creationId="{00000000-0000-0000-0000-000000000000}"/>
          </ac:picMkLst>
        </pc:picChg>
      </pc:sldChg>
      <pc:sldChg chg="addSp delSp modSp mod modNotesTx">
        <pc:chgData name="Michaelsen, Børje" userId="c36523e3-11ed-4011-9a41-1983019c0634" providerId="ADAL" clId="{BA52AB2D-98FC-4F94-A9B1-A54CAAD8D6A0}" dt="2023-09-19T10:48:46.152" v="1120"/>
        <pc:sldMkLst>
          <pc:docMk/>
          <pc:sldMk cId="4110371661" sldId="275"/>
        </pc:sldMkLst>
        <pc:spChg chg="add mod">
          <ac:chgData name="Michaelsen, Børje" userId="c36523e3-11ed-4011-9a41-1983019c0634" providerId="ADAL" clId="{BA52AB2D-98FC-4F94-A9B1-A54CAAD8D6A0}" dt="2023-08-29T07:08:51.758" v="115" actId="1076"/>
          <ac:spMkLst>
            <pc:docMk/>
            <pc:sldMk cId="4110371661" sldId="275"/>
            <ac:spMk id="4" creationId="{ADC4D27A-7104-89A3-9CDC-9CE0B0173FB4}"/>
          </ac:spMkLst>
        </pc:spChg>
        <pc:spChg chg="del">
          <ac:chgData name="Michaelsen, Børje" userId="c36523e3-11ed-4011-9a41-1983019c0634" providerId="ADAL" clId="{BA52AB2D-98FC-4F94-A9B1-A54CAAD8D6A0}" dt="2023-08-29T07:08:43.086" v="113" actId="478"/>
          <ac:spMkLst>
            <pc:docMk/>
            <pc:sldMk cId="4110371661" sldId="275"/>
            <ac:spMk id="9" creationId="{00000000-0000-0000-0000-000000000000}"/>
          </ac:spMkLst>
        </pc:spChg>
        <pc:graphicFrameChg chg="add mod">
          <ac:chgData name="Michaelsen, Børje" userId="c36523e3-11ed-4011-9a41-1983019c0634" providerId="ADAL" clId="{BA52AB2D-98FC-4F94-A9B1-A54CAAD8D6A0}" dt="2023-09-19T10:48:46.152" v="1120"/>
          <ac:graphicFrameMkLst>
            <pc:docMk/>
            <pc:sldMk cId="4110371661" sldId="275"/>
            <ac:graphicFrameMk id="5" creationId="{A9AB4960-5BA5-6AF9-F3ED-65DFE4591263}"/>
          </ac:graphicFrameMkLst>
        </pc:graphicFrameChg>
        <pc:graphicFrameChg chg="del">
          <ac:chgData name="Michaelsen, Børje" userId="c36523e3-11ed-4011-9a41-1983019c0634" providerId="ADAL" clId="{BA52AB2D-98FC-4F94-A9B1-A54CAAD8D6A0}" dt="2023-08-29T07:09:29.481" v="118" actId="478"/>
          <ac:graphicFrameMkLst>
            <pc:docMk/>
            <pc:sldMk cId="4110371661" sldId="275"/>
            <ac:graphicFrameMk id="7" creationId="{00000000-0000-0000-0000-000000000000}"/>
          </ac:graphicFrameMkLst>
        </pc:graphicFrameChg>
      </pc:sldChg>
      <pc:sldChg chg="addSp delSp modSp mod">
        <pc:chgData name="Michaelsen, Børje" userId="c36523e3-11ed-4011-9a41-1983019c0634" providerId="ADAL" clId="{BA52AB2D-98FC-4F94-A9B1-A54CAAD8D6A0}" dt="2023-09-19T10:48:29.776" v="1119"/>
        <pc:sldMkLst>
          <pc:docMk/>
          <pc:sldMk cId="768537486" sldId="276"/>
        </pc:sldMkLst>
        <pc:spChg chg="mod ord">
          <ac:chgData name="Michaelsen, Børje" userId="c36523e3-11ed-4011-9a41-1983019c0634" providerId="ADAL" clId="{BA52AB2D-98FC-4F94-A9B1-A54CAAD8D6A0}" dt="2023-09-19T10:48:26.447" v="1118"/>
          <ac:spMkLst>
            <pc:docMk/>
            <pc:sldMk cId="768537486" sldId="276"/>
            <ac:spMk id="2" creationId="{00000000-0000-0000-0000-000000000000}"/>
          </ac:spMkLst>
        </pc:spChg>
        <pc:spChg chg="add mod">
          <ac:chgData name="Michaelsen, Børje" userId="c36523e3-11ed-4011-9a41-1983019c0634" providerId="ADAL" clId="{BA52AB2D-98FC-4F94-A9B1-A54CAAD8D6A0}" dt="2023-08-28T08:39:17.283" v="98" actId="1036"/>
          <ac:spMkLst>
            <pc:docMk/>
            <pc:sldMk cId="768537486" sldId="276"/>
            <ac:spMk id="5" creationId="{B21E2FD4-D9C7-8BE3-335D-DD3F9D2AE41F}"/>
          </ac:spMkLst>
        </pc:spChg>
        <pc:spChg chg="del">
          <ac:chgData name="Michaelsen, Børje" userId="c36523e3-11ed-4011-9a41-1983019c0634" providerId="ADAL" clId="{BA52AB2D-98FC-4F94-A9B1-A54CAAD8D6A0}" dt="2023-08-28T08:39:09.220" v="94" actId="478"/>
          <ac:spMkLst>
            <pc:docMk/>
            <pc:sldMk cId="768537486" sldId="276"/>
            <ac:spMk id="7" creationId="{00000000-0000-0000-0000-000000000000}"/>
          </ac:spMkLst>
        </pc:spChg>
        <pc:spChg chg="mod ord">
          <ac:chgData name="Michaelsen, Børje" userId="c36523e3-11ed-4011-9a41-1983019c0634" providerId="ADAL" clId="{BA52AB2D-98FC-4F94-A9B1-A54CAAD8D6A0}" dt="2023-09-19T10:48:29.776" v="1119"/>
          <ac:spMkLst>
            <pc:docMk/>
            <pc:sldMk cId="768537486" sldId="276"/>
            <ac:spMk id="9" creationId="{00000000-0000-0000-0000-000000000000}"/>
          </ac:spMkLst>
        </pc:spChg>
        <pc:graphicFrameChg chg="mod modGraphic">
          <ac:chgData name="Michaelsen, Børje" userId="c36523e3-11ed-4011-9a41-1983019c0634" providerId="ADAL" clId="{BA52AB2D-98FC-4F94-A9B1-A54CAAD8D6A0}" dt="2023-09-19T10:43:59.335" v="1031" actId="12385"/>
          <ac:graphicFrameMkLst>
            <pc:docMk/>
            <pc:sldMk cId="768537486" sldId="276"/>
            <ac:graphicFrameMk id="8" creationId="{00000000-0000-0000-0000-000000000000}"/>
          </ac:graphicFrameMkLst>
        </pc:graphicFrameChg>
        <pc:picChg chg="add mod">
          <ac:chgData name="Michaelsen, Børje" userId="c36523e3-11ed-4011-9a41-1983019c0634" providerId="ADAL" clId="{BA52AB2D-98FC-4F94-A9B1-A54CAAD8D6A0}" dt="2023-09-19T10:40:09.601" v="946" actId="962"/>
          <ac:picMkLst>
            <pc:docMk/>
            <pc:sldMk cId="768537486" sldId="276"/>
            <ac:picMk id="3" creationId="{9B70D058-85F1-23E5-0932-E3431DDCD26A}"/>
          </ac:picMkLst>
        </pc:picChg>
        <pc:picChg chg="del">
          <ac:chgData name="Michaelsen, Børje" userId="c36523e3-11ed-4011-9a41-1983019c0634" providerId="ADAL" clId="{BA52AB2D-98FC-4F94-A9B1-A54CAAD8D6A0}" dt="2023-08-28T08:38:49.988" v="90" actId="478"/>
          <ac:picMkLst>
            <pc:docMk/>
            <pc:sldMk cId="768537486" sldId="276"/>
            <ac:picMk id="4" creationId="{00000000-0000-0000-0000-000000000000}"/>
          </ac:picMkLst>
        </pc:picChg>
      </pc:sldChg>
      <pc:sldChg chg="addSp delSp modSp mod">
        <pc:chgData name="Michaelsen, Børje" userId="c36523e3-11ed-4011-9a41-1983019c0634" providerId="ADAL" clId="{BA52AB2D-98FC-4F94-A9B1-A54CAAD8D6A0}" dt="2023-09-19T10:48:55.728" v="1121"/>
        <pc:sldMkLst>
          <pc:docMk/>
          <pc:sldMk cId="2721633966" sldId="277"/>
        </pc:sldMkLst>
        <pc:spChg chg="add mod">
          <ac:chgData name="Michaelsen, Børje" userId="c36523e3-11ed-4011-9a41-1983019c0634" providerId="ADAL" clId="{BA52AB2D-98FC-4F94-A9B1-A54CAAD8D6A0}" dt="2023-09-01T13:19:24.109" v="300"/>
          <ac:spMkLst>
            <pc:docMk/>
            <pc:sldMk cId="2721633966" sldId="277"/>
            <ac:spMk id="4" creationId="{078294F2-A6F6-2263-1823-FD5A179C43EC}"/>
          </ac:spMkLst>
        </pc:spChg>
        <pc:spChg chg="del">
          <ac:chgData name="Michaelsen, Børje" userId="c36523e3-11ed-4011-9a41-1983019c0634" providerId="ADAL" clId="{BA52AB2D-98FC-4F94-A9B1-A54CAAD8D6A0}" dt="2023-09-01T13:19:22.777" v="299" actId="478"/>
          <ac:spMkLst>
            <pc:docMk/>
            <pc:sldMk cId="2721633966" sldId="277"/>
            <ac:spMk id="9" creationId="{00000000-0000-0000-0000-000000000000}"/>
          </ac:spMkLst>
        </pc:spChg>
        <pc:graphicFrameChg chg="add mod">
          <ac:chgData name="Michaelsen, Børje" userId="c36523e3-11ed-4011-9a41-1983019c0634" providerId="ADAL" clId="{BA52AB2D-98FC-4F94-A9B1-A54CAAD8D6A0}" dt="2023-09-19T10:48:55.728" v="1121"/>
          <ac:graphicFrameMkLst>
            <pc:docMk/>
            <pc:sldMk cId="2721633966" sldId="277"/>
            <ac:graphicFrameMk id="5" creationId="{1E871170-F82D-1EDA-BE6F-558892AFB706}"/>
          </ac:graphicFrameMkLst>
        </pc:graphicFrameChg>
        <pc:graphicFrameChg chg="del">
          <ac:chgData name="Michaelsen, Børje" userId="c36523e3-11ed-4011-9a41-1983019c0634" providerId="ADAL" clId="{BA52AB2D-98FC-4F94-A9B1-A54CAAD8D6A0}" dt="2023-09-01T13:20:07.422" v="301" actId="478"/>
          <ac:graphicFrameMkLst>
            <pc:docMk/>
            <pc:sldMk cId="2721633966" sldId="277"/>
            <ac:graphicFrameMk id="6" creationId="{00000000-0000-0000-0000-000000000000}"/>
          </ac:graphicFrameMkLst>
        </pc:graphicFrameChg>
      </pc:sldChg>
      <pc:sldChg chg="del">
        <pc:chgData name="Michaelsen, Børje" userId="c36523e3-11ed-4011-9a41-1983019c0634" providerId="ADAL" clId="{BA52AB2D-98FC-4F94-A9B1-A54CAAD8D6A0}" dt="2023-08-30T07:36:53.484" v="153" actId="47"/>
        <pc:sldMkLst>
          <pc:docMk/>
          <pc:sldMk cId="1321071006" sldId="278"/>
        </pc:sldMkLst>
      </pc:sldChg>
      <pc:sldChg chg="addSp delSp modSp mod">
        <pc:chgData name="Michaelsen, Børje" userId="c36523e3-11ed-4011-9a41-1983019c0634" providerId="ADAL" clId="{BA52AB2D-98FC-4F94-A9B1-A54CAAD8D6A0}" dt="2023-09-29T13:13:53.590" v="1522"/>
        <pc:sldMkLst>
          <pc:docMk/>
          <pc:sldMk cId="662108869" sldId="279"/>
        </pc:sldMkLst>
        <pc:spChg chg="mod">
          <ac:chgData name="Michaelsen, Børje" userId="c36523e3-11ed-4011-9a41-1983019c0634" providerId="ADAL" clId="{BA52AB2D-98FC-4F94-A9B1-A54CAAD8D6A0}" dt="2023-09-19T10:47:20.615" v="1099" actId="1076"/>
          <ac:spMkLst>
            <pc:docMk/>
            <pc:sldMk cId="662108869" sldId="279"/>
            <ac:spMk id="2" creationId="{00000000-0000-0000-0000-000000000000}"/>
          </ac:spMkLst>
        </pc:spChg>
        <pc:spChg chg="add mod">
          <ac:chgData name="Michaelsen, Børje" userId="c36523e3-11ed-4011-9a41-1983019c0634" providerId="ADAL" clId="{BA52AB2D-98FC-4F94-A9B1-A54CAAD8D6A0}" dt="2023-09-29T13:13:53.590" v="1522"/>
          <ac:spMkLst>
            <pc:docMk/>
            <pc:sldMk cId="662108869" sldId="279"/>
            <ac:spMk id="5" creationId="{3CA819FE-FFDB-92CB-C35A-6A4FCDDF7E63}"/>
          </ac:spMkLst>
        </pc:spChg>
        <pc:spChg chg="mod">
          <ac:chgData name="Michaelsen, Børje" userId="c36523e3-11ed-4011-9a41-1983019c0634" providerId="ADAL" clId="{BA52AB2D-98FC-4F94-A9B1-A54CAAD8D6A0}" dt="2023-09-26T13:07:13.542" v="1519" actId="207"/>
          <ac:spMkLst>
            <pc:docMk/>
            <pc:sldMk cId="662108869" sldId="279"/>
            <ac:spMk id="10" creationId="{00000000-0000-0000-0000-000000000000}"/>
          </ac:spMkLst>
        </pc:spChg>
        <pc:graphicFrameChg chg="add mod ord">
          <ac:chgData name="Michaelsen, Børje" userId="c36523e3-11ed-4011-9a41-1983019c0634" providerId="ADAL" clId="{BA52AB2D-98FC-4F94-A9B1-A54CAAD8D6A0}" dt="2023-09-26T13:07:01.312" v="1504" actId="1035"/>
          <ac:graphicFrameMkLst>
            <pc:docMk/>
            <pc:sldMk cId="662108869" sldId="279"/>
            <ac:graphicFrameMk id="3" creationId="{CAA1CB3D-938F-067F-8DA9-50299143B277}"/>
          </ac:graphicFrameMkLst>
        </pc:graphicFrameChg>
        <pc:graphicFrameChg chg="add mod">
          <ac:chgData name="Michaelsen, Børje" userId="c36523e3-11ed-4011-9a41-1983019c0634" providerId="ADAL" clId="{BA52AB2D-98FC-4F94-A9B1-A54CAAD8D6A0}" dt="2023-09-26T13:07:05.329" v="1518" actId="1036"/>
          <ac:graphicFrameMkLst>
            <pc:docMk/>
            <pc:sldMk cId="662108869" sldId="279"/>
            <ac:graphicFrameMk id="4" creationId="{24E4A504-A222-3225-2904-7772932E33DE}"/>
          </ac:graphicFrameMkLst>
        </pc:graphicFrameChg>
        <pc:graphicFrameChg chg="del">
          <ac:chgData name="Michaelsen, Børje" userId="c36523e3-11ed-4011-9a41-1983019c0634" providerId="ADAL" clId="{BA52AB2D-98FC-4F94-A9B1-A54CAAD8D6A0}" dt="2023-09-13T12:24:49.045" v="699" actId="478"/>
          <ac:graphicFrameMkLst>
            <pc:docMk/>
            <pc:sldMk cId="662108869" sldId="279"/>
            <ac:graphicFrameMk id="7" creationId="{00000000-0008-0000-0600-000005000000}"/>
          </ac:graphicFrameMkLst>
        </pc:graphicFrameChg>
        <pc:graphicFrameChg chg="del">
          <ac:chgData name="Michaelsen, Børje" userId="c36523e3-11ed-4011-9a41-1983019c0634" providerId="ADAL" clId="{BA52AB2D-98FC-4F94-A9B1-A54CAAD8D6A0}" dt="2023-09-13T12:26:06.181" v="721" actId="478"/>
          <ac:graphicFrameMkLst>
            <pc:docMk/>
            <pc:sldMk cId="662108869" sldId="279"/>
            <ac:graphicFrameMk id="8" creationId="{00000000-0008-0000-0300-000002000000}"/>
          </ac:graphicFrameMkLst>
        </pc:graphicFrameChg>
      </pc:sldChg>
      <pc:sldChg chg="addSp delSp modSp mod">
        <pc:chgData name="Michaelsen, Børje" userId="c36523e3-11ed-4011-9a41-1983019c0634" providerId="ADAL" clId="{BA52AB2D-98FC-4F94-A9B1-A54CAAD8D6A0}" dt="2023-09-19T10:47:45.015" v="1109" actId="1036"/>
        <pc:sldMkLst>
          <pc:docMk/>
          <pc:sldMk cId="835482435" sldId="282"/>
        </pc:sldMkLst>
        <pc:spChg chg="mod">
          <ac:chgData name="Michaelsen, Børje" userId="c36523e3-11ed-4011-9a41-1983019c0634" providerId="ADAL" clId="{BA52AB2D-98FC-4F94-A9B1-A54CAAD8D6A0}" dt="2023-09-19T10:47:45.015" v="1109" actId="1036"/>
          <ac:spMkLst>
            <pc:docMk/>
            <pc:sldMk cId="835482435" sldId="282"/>
            <ac:spMk id="2" creationId="{00000000-0000-0000-0000-000000000000}"/>
          </ac:spMkLst>
        </pc:spChg>
        <pc:spChg chg="mod">
          <ac:chgData name="Michaelsen, Børje" userId="c36523e3-11ed-4011-9a41-1983019c0634" providerId="ADAL" clId="{BA52AB2D-98FC-4F94-A9B1-A54CAAD8D6A0}" dt="2023-09-07T12:52:10.325" v="401" actId="14100"/>
          <ac:spMkLst>
            <pc:docMk/>
            <pc:sldMk cId="835482435" sldId="282"/>
            <ac:spMk id="3" creationId="{00000000-0000-0000-0000-000000000000}"/>
          </ac:spMkLst>
        </pc:spChg>
        <pc:spChg chg="add mod">
          <ac:chgData name="Michaelsen, Børje" userId="c36523e3-11ed-4011-9a41-1983019c0634" providerId="ADAL" clId="{BA52AB2D-98FC-4F94-A9B1-A54CAAD8D6A0}" dt="2023-09-07T12:52:21.323" v="429" actId="1036"/>
          <ac:spMkLst>
            <pc:docMk/>
            <pc:sldMk cId="835482435" sldId="282"/>
            <ac:spMk id="6" creationId="{9E47B1A4-40A9-6245-1859-51F0D3DDBE40}"/>
          </ac:spMkLst>
        </pc:spChg>
        <pc:graphicFrameChg chg="add mod">
          <ac:chgData name="Michaelsen, Børje" userId="c36523e3-11ed-4011-9a41-1983019c0634" providerId="ADAL" clId="{BA52AB2D-98FC-4F94-A9B1-A54CAAD8D6A0}" dt="2023-09-19T10:38:04.618" v="924" actId="962"/>
          <ac:graphicFrameMkLst>
            <pc:docMk/>
            <pc:sldMk cId="835482435" sldId="282"/>
            <ac:graphicFrameMk id="4" creationId="{78039546-200C-51F9-A3B8-CF9627E87368}"/>
          </ac:graphicFrameMkLst>
        </pc:graphicFrameChg>
        <pc:graphicFrameChg chg="del">
          <ac:chgData name="Michaelsen, Børje" userId="c36523e3-11ed-4011-9a41-1983019c0634" providerId="ADAL" clId="{BA52AB2D-98FC-4F94-A9B1-A54CAAD8D6A0}" dt="2023-09-07T12:50:37.390" v="304" actId="478"/>
          <ac:graphicFrameMkLst>
            <pc:docMk/>
            <pc:sldMk cId="835482435" sldId="282"/>
            <ac:graphicFrameMk id="5" creationId="{00000000-0000-0000-0000-000000000000}"/>
          </ac:graphicFrameMkLst>
        </pc:graphicFrameChg>
      </pc:sldChg>
      <pc:sldChg chg="addSp delSp modSp mod modNotesTx">
        <pc:chgData name="Michaelsen, Børje" userId="c36523e3-11ed-4011-9a41-1983019c0634" providerId="ADAL" clId="{BA52AB2D-98FC-4F94-A9B1-A54CAAD8D6A0}" dt="2023-09-21T11:19:07.898" v="1169" actId="20577"/>
        <pc:sldMkLst>
          <pc:docMk/>
          <pc:sldMk cId="4206418978" sldId="283"/>
        </pc:sldMkLst>
        <pc:spChg chg="mod">
          <ac:chgData name="Michaelsen, Børje" userId="c36523e3-11ed-4011-9a41-1983019c0634" providerId="ADAL" clId="{BA52AB2D-98FC-4F94-A9B1-A54CAAD8D6A0}" dt="2023-09-21T11:19:07.898" v="1169" actId="20577"/>
          <ac:spMkLst>
            <pc:docMk/>
            <pc:sldMk cId="4206418978" sldId="283"/>
            <ac:spMk id="12" creationId="{00000000-0000-0000-0000-000000000000}"/>
          </ac:spMkLst>
        </pc:spChg>
        <pc:graphicFrameChg chg="add mod">
          <ac:chgData name="Michaelsen, Børje" userId="c36523e3-11ed-4011-9a41-1983019c0634" providerId="ADAL" clId="{BA52AB2D-98FC-4F94-A9B1-A54CAAD8D6A0}" dt="2023-09-21T11:18:24.873" v="1162"/>
          <ac:graphicFrameMkLst>
            <pc:docMk/>
            <pc:sldMk cId="4206418978" sldId="283"/>
            <ac:graphicFrameMk id="2" creationId="{63A40097-C4A2-14B9-A24B-383F7DBB9E25}"/>
          </ac:graphicFrameMkLst>
        </pc:graphicFrameChg>
        <pc:graphicFrameChg chg="add mod">
          <ac:chgData name="Michaelsen, Børje" userId="c36523e3-11ed-4011-9a41-1983019c0634" providerId="ADAL" clId="{BA52AB2D-98FC-4F94-A9B1-A54CAAD8D6A0}" dt="2023-09-21T11:18:34.656" v="1163"/>
          <ac:graphicFrameMkLst>
            <pc:docMk/>
            <pc:sldMk cId="4206418978" sldId="283"/>
            <ac:graphicFrameMk id="3" creationId="{CCD598CE-C79E-F23D-EB38-73FA8DFA7F8A}"/>
          </ac:graphicFrameMkLst>
        </pc:graphicFrameChg>
        <pc:graphicFrameChg chg="del mod">
          <ac:chgData name="Michaelsen, Børje" userId="c36523e3-11ed-4011-9a41-1983019c0634" providerId="ADAL" clId="{BA52AB2D-98FC-4F94-A9B1-A54CAAD8D6A0}" dt="2023-09-21T11:17:54.341" v="1158" actId="478"/>
          <ac:graphicFrameMkLst>
            <pc:docMk/>
            <pc:sldMk cId="4206418978" sldId="283"/>
            <ac:graphicFrameMk id="6" creationId="{00000000-0000-0000-0000-000000000000}"/>
          </ac:graphicFrameMkLst>
        </pc:graphicFrameChg>
        <pc:graphicFrameChg chg="del mod">
          <ac:chgData name="Michaelsen, Børje" userId="c36523e3-11ed-4011-9a41-1983019c0634" providerId="ADAL" clId="{BA52AB2D-98FC-4F94-A9B1-A54CAAD8D6A0}" dt="2023-09-21T11:17:46.786" v="1156" actId="478"/>
          <ac:graphicFrameMkLst>
            <pc:docMk/>
            <pc:sldMk cId="4206418978" sldId="283"/>
            <ac:graphicFrameMk id="7" creationId="{00000000-0000-0000-0000-000000000000}"/>
          </ac:graphicFrameMkLst>
        </pc:graphicFrameChg>
      </pc:sldChg>
      <pc:sldChg chg="addSp delSp modSp mod modNotesTx">
        <pc:chgData name="Michaelsen, Børje" userId="c36523e3-11ed-4011-9a41-1983019c0634" providerId="ADAL" clId="{BA52AB2D-98FC-4F94-A9B1-A54CAAD8D6A0}" dt="2023-09-29T13:13:42.303" v="1521"/>
        <pc:sldMkLst>
          <pc:docMk/>
          <pc:sldMk cId="3156779651" sldId="284"/>
        </pc:sldMkLst>
        <pc:spChg chg="ord">
          <ac:chgData name="Michaelsen, Børje" userId="c36523e3-11ed-4011-9a41-1983019c0634" providerId="ADAL" clId="{BA52AB2D-98FC-4F94-A9B1-A54CAAD8D6A0}" dt="2023-09-19T10:46:12.625" v="1066"/>
          <ac:spMkLst>
            <pc:docMk/>
            <pc:sldMk cId="3156779651" sldId="284"/>
            <ac:spMk id="2" creationId="{00000000-0000-0000-0000-000000000000}"/>
          </ac:spMkLst>
        </pc:spChg>
        <pc:spChg chg="mod ord">
          <ac:chgData name="Michaelsen, Børje" userId="c36523e3-11ed-4011-9a41-1983019c0634" providerId="ADAL" clId="{BA52AB2D-98FC-4F94-A9B1-A54CAAD8D6A0}" dt="2023-09-19T10:46:56.503" v="1096" actId="14100"/>
          <ac:spMkLst>
            <pc:docMk/>
            <pc:sldMk cId="3156779651" sldId="284"/>
            <ac:spMk id="3" creationId="{00000000-0000-0000-0000-000000000000}"/>
          </ac:spMkLst>
        </pc:spChg>
        <pc:spChg chg="add mod">
          <ac:chgData name="Michaelsen, Børje" userId="c36523e3-11ed-4011-9a41-1983019c0634" providerId="ADAL" clId="{BA52AB2D-98FC-4F94-A9B1-A54CAAD8D6A0}" dt="2023-09-29T13:13:42.303" v="1521"/>
          <ac:spMkLst>
            <pc:docMk/>
            <pc:sldMk cId="3156779651" sldId="284"/>
            <ac:spMk id="6" creationId="{398266D8-7163-451C-8819-F9EB656D47E9}"/>
          </ac:spMkLst>
        </pc:spChg>
        <pc:spChg chg="mod ord">
          <ac:chgData name="Michaelsen, Børje" userId="c36523e3-11ed-4011-9a41-1983019c0634" providerId="ADAL" clId="{BA52AB2D-98FC-4F94-A9B1-A54CAAD8D6A0}" dt="2023-09-19T10:46:38.830" v="1095"/>
          <ac:spMkLst>
            <pc:docMk/>
            <pc:sldMk cId="3156779651" sldId="284"/>
            <ac:spMk id="29" creationId="{00000000-0000-0000-0000-000000000000}"/>
          </ac:spMkLst>
        </pc:spChg>
        <pc:grpChg chg="mod">
          <ac:chgData name="Michaelsen, Børje" userId="c36523e3-11ed-4011-9a41-1983019c0634" providerId="ADAL" clId="{BA52AB2D-98FC-4F94-A9B1-A54CAAD8D6A0}" dt="2023-09-19T10:38:37.546" v="929" actId="962"/>
          <ac:grpSpMkLst>
            <pc:docMk/>
            <pc:sldMk cId="3156779651" sldId="284"/>
            <ac:grpSpMk id="31" creationId="{00000000-0000-0000-0000-000000000000}"/>
          </ac:grpSpMkLst>
        </pc:grpChg>
        <pc:picChg chg="del">
          <ac:chgData name="Michaelsen, Børje" userId="c36523e3-11ed-4011-9a41-1983019c0634" providerId="ADAL" clId="{BA52AB2D-98FC-4F94-A9B1-A54CAAD8D6A0}" dt="2023-09-01T08:33:01.296" v="279" actId="478"/>
          <ac:picMkLst>
            <pc:docMk/>
            <pc:sldMk cId="3156779651" sldId="284"/>
            <ac:picMk id="6" creationId="{00000000-0000-0000-0000-000000000000}"/>
          </ac:picMkLst>
        </pc:picChg>
        <pc:picChg chg="add mod ord">
          <ac:chgData name="Michaelsen, Børje" userId="c36523e3-11ed-4011-9a41-1983019c0634" providerId="ADAL" clId="{BA52AB2D-98FC-4F94-A9B1-A54CAAD8D6A0}" dt="2023-09-19T10:46:33.119" v="1082"/>
          <ac:picMkLst>
            <pc:docMk/>
            <pc:sldMk cId="3156779651" sldId="284"/>
            <ac:picMk id="41" creationId="{C722A189-6382-CE15-C893-3C19B89C6E93}"/>
          </ac:picMkLst>
        </pc:picChg>
        <pc:picChg chg="mod">
          <ac:chgData name="Michaelsen, Børje" userId="c36523e3-11ed-4011-9a41-1983019c0634" providerId="ADAL" clId="{BA52AB2D-98FC-4F94-A9B1-A54CAAD8D6A0}" dt="2023-09-19T10:36:49.384" v="876" actId="962"/>
          <ac:picMkLst>
            <pc:docMk/>
            <pc:sldMk cId="3156779651" sldId="284"/>
            <ac:picMk id="2050" creationId="{00000000-0000-0000-0000-000000000000}"/>
          </ac:picMkLst>
        </pc:picChg>
      </pc:sldChg>
      <pc:sldChg chg="addSp delSp modSp mod modNotesTx">
        <pc:chgData name="Michaelsen, Børje" userId="c36523e3-11ed-4011-9a41-1983019c0634" providerId="ADAL" clId="{BA52AB2D-98FC-4F94-A9B1-A54CAAD8D6A0}" dt="2023-09-25T12:37:00.361" v="1257"/>
        <pc:sldMkLst>
          <pc:docMk/>
          <pc:sldMk cId="4268334138" sldId="285"/>
        </pc:sldMkLst>
        <pc:spChg chg="mod">
          <ac:chgData name="Michaelsen, Børje" userId="c36523e3-11ed-4011-9a41-1983019c0634" providerId="ADAL" clId="{BA52AB2D-98FC-4F94-A9B1-A54CAAD8D6A0}" dt="2023-09-25T12:36:05.562" v="1244" actId="20577"/>
          <ac:spMkLst>
            <pc:docMk/>
            <pc:sldMk cId="4268334138" sldId="285"/>
            <ac:spMk id="3" creationId="{0E208661-40B4-4483-9A05-FE473BED7235}"/>
          </ac:spMkLst>
        </pc:spChg>
        <pc:spChg chg="add mod">
          <ac:chgData name="Michaelsen, Børje" userId="c36523e3-11ed-4011-9a41-1983019c0634" providerId="ADAL" clId="{BA52AB2D-98FC-4F94-A9B1-A54CAAD8D6A0}" dt="2023-09-25T12:36:17.441" v="1252" actId="1035"/>
          <ac:spMkLst>
            <pc:docMk/>
            <pc:sldMk cId="4268334138" sldId="285"/>
            <ac:spMk id="4" creationId="{A2C045A3-1F4B-4246-91CD-7D3279912321}"/>
          </ac:spMkLst>
        </pc:spChg>
        <pc:spChg chg="del">
          <ac:chgData name="Michaelsen, Børje" userId="c36523e3-11ed-4011-9a41-1983019c0634" providerId="ADAL" clId="{BA52AB2D-98FC-4F94-A9B1-A54CAAD8D6A0}" dt="2023-09-19T10:38:54.834" v="938" actId="478"/>
          <ac:spMkLst>
            <pc:docMk/>
            <pc:sldMk cId="4268334138" sldId="285"/>
            <ac:spMk id="7" creationId="{A6D52CC4-017C-4342-80C6-B635DE3CFF15}"/>
          </ac:spMkLst>
        </pc:spChg>
        <pc:spChg chg="ord">
          <ac:chgData name="Michaelsen, Børje" userId="c36523e3-11ed-4011-9a41-1983019c0634" providerId="ADAL" clId="{BA52AB2D-98FC-4F94-A9B1-A54CAAD8D6A0}" dt="2023-09-19T10:47:52.704" v="1110"/>
          <ac:spMkLst>
            <pc:docMk/>
            <pc:sldMk cId="4268334138" sldId="285"/>
            <ac:spMk id="8" creationId="{00000000-0000-0000-0000-000000000000}"/>
          </ac:spMkLst>
        </pc:spChg>
        <pc:graphicFrameChg chg="del">
          <ac:chgData name="Michaelsen, Børje" userId="c36523e3-11ed-4011-9a41-1983019c0634" providerId="ADAL" clId="{BA52AB2D-98FC-4F94-A9B1-A54CAAD8D6A0}" dt="2023-09-13T14:25:56.840" v="727" actId="478"/>
          <ac:graphicFrameMkLst>
            <pc:docMk/>
            <pc:sldMk cId="4268334138" sldId="285"/>
            <ac:graphicFrameMk id="4" creationId="{00000000-0000-0000-0000-000000000000}"/>
          </ac:graphicFrameMkLst>
        </pc:graphicFrameChg>
        <pc:graphicFrameChg chg="add mod ord modGraphic">
          <ac:chgData name="Michaelsen, Børje" userId="c36523e3-11ed-4011-9a41-1983019c0634" providerId="ADAL" clId="{BA52AB2D-98FC-4F94-A9B1-A54CAAD8D6A0}" dt="2023-09-25T12:36:13.936" v="1245" actId="1076"/>
          <ac:graphicFrameMkLst>
            <pc:docMk/>
            <pc:sldMk cId="4268334138" sldId="285"/>
            <ac:graphicFrameMk id="5" creationId="{69A96E7B-2E5C-0EF0-E6A9-A9E370BCA5D3}"/>
          </ac:graphicFrameMkLst>
        </pc:graphicFrameChg>
        <pc:graphicFrameChg chg="add mod">
          <ac:chgData name="Michaelsen, Børje" userId="c36523e3-11ed-4011-9a41-1983019c0634" providerId="ADAL" clId="{BA52AB2D-98FC-4F94-A9B1-A54CAAD8D6A0}" dt="2023-09-25T12:37:00.361" v="1257"/>
          <ac:graphicFrameMkLst>
            <pc:docMk/>
            <pc:sldMk cId="4268334138" sldId="285"/>
            <ac:graphicFrameMk id="6" creationId="{18197FB1-9372-F1DC-4225-665AF0196003}"/>
          </ac:graphicFrameMkLst>
        </pc:graphicFrameChg>
        <pc:graphicFrameChg chg="del mod">
          <ac:chgData name="Michaelsen, Børje" userId="c36523e3-11ed-4011-9a41-1983019c0634" providerId="ADAL" clId="{BA52AB2D-98FC-4F94-A9B1-A54CAAD8D6A0}" dt="2023-09-25T12:35:42.932" v="1236" actId="478"/>
          <ac:graphicFrameMkLst>
            <pc:docMk/>
            <pc:sldMk cId="4268334138" sldId="285"/>
            <ac:graphicFrameMk id="10" creationId="{00000000-0000-0000-0000-000000000000}"/>
          </ac:graphicFrameMkLst>
        </pc:graphicFrameChg>
      </pc:sldChg>
      <pc:sldChg chg="modSp del mod">
        <pc:chgData name="Michaelsen, Børje" userId="c36523e3-11ed-4011-9a41-1983019c0634" providerId="ADAL" clId="{BA52AB2D-98FC-4F94-A9B1-A54CAAD8D6A0}" dt="2023-10-10T11:47:32.011" v="1549" actId="47"/>
        <pc:sldMkLst>
          <pc:docMk/>
          <pc:sldMk cId="2226705274" sldId="286"/>
        </pc:sldMkLst>
        <pc:spChg chg="ord">
          <ac:chgData name="Michaelsen, Børje" userId="c36523e3-11ed-4011-9a41-1983019c0634" providerId="ADAL" clId="{BA52AB2D-98FC-4F94-A9B1-A54CAAD8D6A0}" dt="2023-09-19T10:50:15.024" v="1145"/>
          <ac:spMkLst>
            <pc:docMk/>
            <pc:sldMk cId="2226705274" sldId="286"/>
            <ac:spMk id="8" creationId="{00000000-0000-0000-0000-000000000000}"/>
          </ac:spMkLst>
        </pc:spChg>
        <pc:spChg chg="ord">
          <ac:chgData name="Michaelsen, Børje" userId="c36523e3-11ed-4011-9a41-1983019c0634" providerId="ADAL" clId="{BA52AB2D-98FC-4F94-A9B1-A54CAAD8D6A0}" dt="2023-09-19T10:50:24.448" v="1151"/>
          <ac:spMkLst>
            <pc:docMk/>
            <pc:sldMk cId="2226705274" sldId="286"/>
            <ac:spMk id="9" creationId="{00000000-0000-0000-0000-000000000000}"/>
          </ac:spMkLst>
        </pc:spChg>
        <pc:graphicFrameChg chg="ord modGraphic">
          <ac:chgData name="Michaelsen, Børje" userId="c36523e3-11ed-4011-9a41-1983019c0634" providerId="ADAL" clId="{BA52AB2D-98FC-4F94-A9B1-A54CAAD8D6A0}" dt="2023-09-19T10:50:27.686" v="1153"/>
          <ac:graphicFrameMkLst>
            <pc:docMk/>
            <pc:sldMk cId="2226705274" sldId="286"/>
            <ac:graphicFrameMk id="2" creationId="{00000000-0000-0000-0000-000000000000}"/>
          </ac:graphicFrameMkLst>
        </pc:graphicFrameChg>
        <pc:graphicFrameChg chg="mod">
          <ac:chgData name="Michaelsen, Børje" userId="c36523e3-11ed-4011-9a41-1983019c0634" providerId="ADAL" clId="{BA52AB2D-98FC-4F94-A9B1-A54CAAD8D6A0}" dt="2023-09-19T10:50:20.375" v="1149"/>
          <ac:graphicFrameMkLst>
            <pc:docMk/>
            <pc:sldMk cId="2226705274" sldId="286"/>
            <ac:graphicFrameMk id="11" creationId="{00000000-0008-0000-0200-000002000000}"/>
          </ac:graphicFrameMkLst>
        </pc:graphicFrameChg>
        <pc:picChg chg="mod">
          <ac:chgData name="Michaelsen, Børje" userId="c36523e3-11ed-4011-9a41-1983019c0634" providerId="ADAL" clId="{BA52AB2D-98FC-4F94-A9B1-A54CAAD8D6A0}" dt="2023-09-19T10:43:03.123" v="1018" actId="962"/>
          <ac:picMkLst>
            <pc:docMk/>
            <pc:sldMk cId="2226705274" sldId="286"/>
            <ac:picMk id="5" creationId="{00000000-0000-0000-0000-000000000000}"/>
          </ac:picMkLst>
        </pc:picChg>
      </pc:sldChg>
      <pc:sldChg chg="addSp delSp modSp mod">
        <pc:chgData name="Michaelsen, Børje" userId="c36523e3-11ed-4011-9a41-1983019c0634" providerId="ADAL" clId="{BA52AB2D-98FC-4F94-A9B1-A54CAAD8D6A0}" dt="2023-09-22T08:52:07.931" v="1224"/>
        <pc:sldMkLst>
          <pc:docMk/>
          <pc:sldMk cId="2154520298" sldId="287"/>
        </pc:sldMkLst>
        <pc:spChg chg="mod">
          <ac:chgData name="Michaelsen, Børje" userId="c36523e3-11ed-4011-9a41-1983019c0634" providerId="ADAL" clId="{BA52AB2D-98FC-4F94-A9B1-A54CAAD8D6A0}" dt="2023-09-22T08:49:01.930" v="1218" actId="6549"/>
          <ac:spMkLst>
            <pc:docMk/>
            <pc:sldMk cId="2154520298" sldId="287"/>
            <ac:spMk id="10" creationId="{00000000-0000-0000-0000-000000000000}"/>
          </ac:spMkLst>
        </pc:spChg>
        <pc:picChg chg="del">
          <ac:chgData name="Michaelsen, Børje" userId="c36523e3-11ed-4011-9a41-1983019c0634" providerId="ADAL" clId="{BA52AB2D-98FC-4F94-A9B1-A54CAAD8D6A0}" dt="2023-09-22T08:51:20.329" v="1219" actId="478"/>
          <ac:picMkLst>
            <pc:docMk/>
            <pc:sldMk cId="2154520298" sldId="287"/>
            <ac:picMk id="4" creationId="{0BAFA7FA-889B-C04A-0AC7-74432ADF39FB}"/>
          </ac:picMkLst>
        </pc:picChg>
        <pc:picChg chg="add mod ord">
          <ac:chgData name="Michaelsen, Børje" userId="c36523e3-11ed-4011-9a41-1983019c0634" providerId="ADAL" clId="{BA52AB2D-98FC-4F94-A9B1-A54CAAD8D6A0}" dt="2023-09-22T08:52:07.931" v="1224"/>
          <ac:picMkLst>
            <pc:docMk/>
            <pc:sldMk cId="2154520298" sldId="287"/>
            <ac:picMk id="5" creationId="{B7A8BEB7-1899-1F5C-5076-A32E582C0BD1}"/>
          </ac:picMkLst>
        </pc:picChg>
      </pc:sldChg>
      <pc:sldChg chg="addSp delSp modSp mod">
        <pc:chgData name="Michaelsen, Børje" userId="c36523e3-11ed-4011-9a41-1983019c0634" providerId="ADAL" clId="{BA52AB2D-98FC-4F94-A9B1-A54CAAD8D6A0}" dt="2023-09-29T13:14:10.778" v="1543" actId="1035"/>
        <pc:sldMkLst>
          <pc:docMk/>
          <pc:sldMk cId="1736272724" sldId="289"/>
        </pc:sldMkLst>
        <pc:spChg chg="add mod">
          <ac:chgData name="Michaelsen, Børje" userId="c36523e3-11ed-4011-9a41-1983019c0634" providerId="ADAL" clId="{BA52AB2D-98FC-4F94-A9B1-A54CAAD8D6A0}" dt="2023-09-29T13:14:10.778" v="1543" actId="1035"/>
          <ac:spMkLst>
            <pc:docMk/>
            <pc:sldMk cId="1736272724" sldId="289"/>
            <ac:spMk id="7" creationId="{47DCA46B-50E1-2FDE-FC96-1DC5282D5C2D}"/>
          </ac:spMkLst>
        </pc:spChg>
        <pc:graphicFrameChg chg="add mod">
          <ac:chgData name="Michaelsen, Børje" userId="c36523e3-11ed-4011-9a41-1983019c0634" providerId="ADAL" clId="{BA52AB2D-98FC-4F94-A9B1-A54CAAD8D6A0}" dt="2023-09-19T10:41:25.985" v="980" actId="962"/>
          <ac:graphicFrameMkLst>
            <pc:docMk/>
            <pc:sldMk cId="1736272724" sldId="289"/>
            <ac:graphicFrameMk id="4" creationId="{00000000-0008-0000-0200-000002000000}"/>
          </ac:graphicFrameMkLst>
        </pc:graphicFrameChg>
        <pc:graphicFrameChg chg="add mod">
          <ac:chgData name="Michaelsen, Børje" userId="c36523e3-11ed-4011-9a41-1983019c0634" providerId="ADAL" clId="{BA52AB2D-98FC-4F94-A9B1-A54CAAD8D6A0}" dt="2023-09-19T10:49:04.115" v="1122"/>
          <ac:graphicFrameMkLst>
            <pc:docMk/>
            <pc:sldMk cId="1736272724" sldId="289"/>
            <ac:graphicFrameMk id="5" creationId="{00000000-0008-0000-0000-000002000000}"/>
          </ac:graphicFrameMkLst>
        </pc:graphicFrameChg>
        <pc:graphicFrameChg chg="add mod">
          <ac:chgData name="Michaelsen, Børje" userId="c36523e3-11ed-4011-9a41-1983019c0634" providerId="ADAL" clId="{BA52AB2D-98FC-4F94-A9B1-A54CAAD8D6A0}" dt="2023-09-19T10:49:07.112" v="1123"/>
          <ac:graphicFrameMkLst>
            <pc:docMk/>
            <pc:sldMk cId="1736272724" sldId="289"/>
            <ac:graphicFrameMk id="6" creationId="{00000000-0008-0000-0000-000002000000}"/>
          </ac:graphicFrameMkLst>
        </pc:graphicFrameChg>
        <pc:graphicFrameChg chg="del">
          <ac:chgData name="Michaelsen, Børje" userId="c36523e3-11ed-4011-9a41-1983019c0634" providerId="ADAL" clId="{BA52AB2D-98FC-4F94-A9B1-A54CAAD8D6A0}" dt="2023-09-11T11:24:16.325" v="474" actId="478"/>
          <ac:graphicFrameMkLst>
            <pc:docMk/>
            <pc:sldMk cId="1736272724" sldId="289"/>
            <ac:graphicFrameMk id="8" creationId="{00000000-0000-0000-0000-000000000000}"/>
          </ac:graphicFrameMkLst>
        </pc:graphicFrameChg>
        <pc:graphicFrameChg chg="del mod">
          <ac:chgData name="Michaelsen, Børje" userId="c36523e3-11ed-4011-9a41-1983019c0634" providerId="ADAL" clId="{BA52AB2D-98FC-4F94-A9B1-A54CAAD8D6A0}" dt="2023-09-11T11:40:37.519" v="534" actId="478"/>
          <ac:graphicFrameMkLst>
            <pc:docMk/>
            <pc:sldMk cId="1736272724" sldId="289"/>
            <ac:graphicFrameMk id="9" creationId="{00000000-0000-0000-0000-000000000000}"/>
          </ac:graphicFrameMkLst>
        </pc:graphicFrameChg>
        <pc:graphicFrameChg chg="del">
          <ac:chgData name="Michaelsen, Børje" userId="c36523e3-11ed-4011-9a41-1983019c0634" providerId="ADAL" clId="{BA52AB2D-98FC-4F94-A9B1-A54CAAD8D6A0}" dt="2023-09-11T11:25:12.820" v="527" actId="478"/>
          <ac:graphicFrameMkLst>
            <pc:docMk/>
            <pc:sldMk cId="1736272724" sldId="289"/>
            <ac:graphicFrameMk id="12" creationId="{00000000-0000-0000-0000-000000000000}"/>
          </ac:graphicFrameMkLst>
        </pc:graphicFrameChg>
      </pc:sldChg>
      <pc:sldChg chg="addSp delSp modSp mod">
        <pc:chgData name="Michaelsen, Børje" userId="c36523e3-11ed-4011-9a41-1983019c0634" providerId="ADAL" clId="{BA52AB2D-98FC-4F94-A9B1-A54CAAD8D6A0}" dt="2023-09-19T10:45:52.352" v="1065"/>
        <pc:sldMkLst>
          <pc:docMk/>
          <pc:sldMk cId="3663715429" sldId="292"/>
        </pc:sldMkLst>
        <pc:spChg chg="mod">
          <ac:chgData name="Michaelsen, Børje" userId="c36523e3-11ed-4011-9a41-1983019c0634" providerId="ADAL" clId="{BA52AB2D-98FC-4F94-A9B1-A54CAAD8D6A0}" dt="2023-09-19T10:45:24.790" v="1046" actId="14100"/>
          <ac:spMkLst>
            <pc:docMk/>
            <pc:sldMk cId="3663715429" sldId="292"/>
            <ac:spMk id="2" creationId="{00000000-0000-0000-0000-000000000000}"/>
          </ac:spMkLst>
        </pc:spChg>
        <pc:spChg chg="add mod">
          <ac:chgData name="Michaelsen, Børje" userId="c36523e3-11ed-4011-9a41-1983019c0634" providerId="ADAL" clId="{BA52AB2D-98FC-4F94-A9B1-A54CAAD8D6A0}" dt="2023-09-08T12:56:00.935" v="473" actId="1038"/>
          <ac:spMkLst>
            <pc:docMk/>
            <pc:sldMk cId="3663715429" sldId="292"/>
            <ac:spMk id="5" creationId="{7937958D-62FE-9603-BA05-2A8AC7B51C8D}"/>
          </ac:spMkLst>
        </pc:spChg>
        <pc:spChg chg="add mod ord">
          <ac:chgData name="Michaelsen, Børje" userId="c36523e3-11ed-4011-9a41-1983019c0634" providerId="ADAL" clId="{BA52AB2D-98FC-4F94-A9B1-A54CAAD8D6A0}" dt="2023-09-19T10:45:52.352" v="1065"/>
          <ac:spMkLst>
            <pc:docMk/>
            <pc:sldMk cId="3663715429" sldId="292"/>
            <ac:spMk id="6" creationId="{FE1827B6-0835-954E-3585-D5D56FA7186C}"/>
          </ac:spMkLst>
        </pc:spChg>
        <pc:spChg chg="mod">
          <ac:chgData name="Michaelsen, Børje" userId="c36523e3-11ed-4011-9a41-1983019c0634" providerId="ADAL" clId="{BA52AB2D-98FC-4F94-A9B1-A54CAAD8D6A0}" dt="2023-09-08T12:54:56.809" v="444" actId="20577"/>
          <ac:spMkLst>
            <pc:docMk/>
            <pc:sldMk cId="3663715429" sldId="292"/>
            <ac:spMk id="7" creationId="{00000000-0000-0000-0000-000000000000}"/>
          </ac:spMkLst>
        </pc:spChg>
        <pc:spChg chg="mod">
          <ac:chgData name="Michaelsen, Børje" userId="c36523e3-11ed-4011-9a41-1983019c0634" providerId="ADAL" clId="{BA52AB2D-98FC-4F94-A9B1-A54CAAD8D6A0}" dt="2023-09-08T12:55:19.446" v="447" actId="20577"/>
          <ac:spMkLst>
            <pc:docMk/>
            <pc:sldMk cId="3663715429" sldId="292"/>
            <ac:spMk id="18" creationId="{00000000-0000-0000-0000-000000000000}"/>
          </ac:spMkLst>
        </pc:spChg>
        <pc:graphicFrameChg chg="add mod">
          <ac:chgData name="Michaelsen, Børje" userId="c36523e3-11ed-4011-9a41-1983019c0634" providerId="ADAL" clId="{BA52AB2D-98FC-4F94-A9B1-A54CAAD8D6A0}" dt="2023-09-19T10:45:49.176" v="1062"/>
          <ac:graphicFrameMkLst>
            <pc:docMk/>
            <pc:sldMk cId="3663715429" sldId="292"/>
            <ac:graphicFrameMk id="3" creationId="{00000000-0008-0000-0100-000002000000}"/>
          </ac:graphicFrameMkLst>
        </pc:graphicFrameChg>
        <pc:graphicFrameChg chg="add mod">
          <ac:chgData name="Michaelsen, Børje" userId="c36523e3-11ed-4011-9a41-1983019c0634" providerId="ADAL" clId="{BA52AB2D-98FC-4F94-A9B1-A54CAAD8D6A0}" dt="2023-09-19T10:36:05.654" v="832" actId="962"/>
          <ac:graphicFrameMkLst>
            <pc:docMk/>
            <pc:sldMk cId="3663715429" sldId="292"/>
            <ac:graphicFrameMk id="4" creationId="{00000000-0008-0000-0300-000003000000}"/>
          </ac:graphicFrameMkLst>
        </pc:graphicFrameChg>
        <pc:graphicFrameChg chg="del">
          <ac:chgData name="Michaelsen, Børje" userId="c36523e3-11ed-4011-9a41-1983019c0634" providerId="ADAL" clId="{BA52AB2D-98FC-4F94-A9B1-A54CAAD8D6A0}" dt="2023-09-08T12:54:10.948" v="430" actId="478"/>
          <ac:graphicFrameMkLst>
            <pc:docMk/>
            <pc:sldMk cId="3663715429" sldId="292"/>
            <ac:graphicFrameMk id="8" creationId="{00000000-0000-0000-0000-000000000000}"/>
          </ac:graphicFrameMkLst>
        </pc:graphicFrameChg>
        <pc:graphicFrameChg chg="del">
          <ac:chgData name="Michaelsen, Børje" userId="c36523e3-11ed-4011-9a41-1983019c0634" providerId="ADAL" clId="{BA52AB2D-98FC-4F94-A9B1-A54CAAD8D6A0}" dt="2023-09-08T12:55:27.952" v="448" actId="478"/>
          <ac:graphicFrameMkLst>
            <pc:docMk/>
            <pc:sldMk cId="3663715429" sldId="292"/>
            <ac:graphicFrameMk id="9" creationId="{00000000-0000-0000-0000-000000000000}"/>
          </ac:graphicFrameMkLst>
        </pc:graphicFrameChg>
      </pc:sldChg>
      <pc:sldChg chg="delSp modSp add mod modNotesTx">
        <pc:chgData name="Michaelsen, Børje" userId="c36523e3-11ed-4011-9a41-1983019c0634" providerId="ADAL" clId="{BA52AB2D-98FC-4F94-A9B1-A54CAAD8D6A0}" dt="2023-09-19T10:50:05.343" v="1143"/>
        <pc:sldMkLst>
          <pc:docMk/>
          <pc:sldMk cId="559240798" sldId="1093"/>
        </pc:sldMkLst>
        <pc:spChg chg="del">
          <ac:chgData name="Michaelsen, Børje" userId="c36523e3-11ed-4011-9a41-1983019c0634" providerId="ADAL" clId="{BA52AB2D-98FC-4F94-A9B1-A54CAAD8D6A0}" dt="2023-09-19T10:43:24.864" v="1026" actId="478"/>
          <ac:spMkLst>
            <pc:docMk/>
            <pc:sldMk cId="559240798" sldId="1093"/>
            <ac:spMk id="2" creationId="{A9CA4F69-0A00-457E-97C8-8D999E84DC62}"/>
          </ac:spMkLst>
        </pc:spChg>
        <pc:spChg chg="del">
          <ac:chgData name="Michaelsen, Børje" userId="c36523e3-11ed-4011-9a41-1983019c0634" providerId="ADAL" clId="{BA52AB2D-98FC-4F94-A9B1-A54CAAD8D6A0}" dt="2023-09-19T10:49:50.055" v="1137" actId="478"/>
          <ac:spMkLst>
            <pc:docMk/>
            <pc:sldMk cId="559240798" sldId="1093"/>
            <ac:spMk id="3" creationId="{3C75413D-B741-4BCE-8D4A-86EFA4899773}"/>
          </ac:spMkLst>
        </pc:spChg>
        <pc:spChg chg="mod ord">
          <ac:chgData name="Michaelsen, Børje" userId="c36523e3-11ed-4011-9a41-1983019c0634" providerId="ADAL" clId="{BA52AB2D-98FC-4F94-A9B1-A54CAAD8D6A0}" dt="2023-09-19T10:49:41.897" v="1133"/>
          <ac:spMkLst>
            <pc:docMk/>
            <pc:sldMk cId="559240798" sldId="1093"/>
            <ac:spMk id="6" creationId="{E6AD9810-77AD-40A7-B695-CF94C0980126}"/>
          </ac:spMkLst>
        </pc:spChg>
        <pc:spChg chg="ord">
          <ac:chgData name="Michaelsen, Børje" userId="c36523e3-11ed-4011-9a41-1983019c0634" providerId="ADAL" clId="{BA52AB2D-98FC-4F94-A9B1-A54CAAD8D6A0}" dt="2023-09-19T10:50:01.919" v="1140"/>
          <ac:spMkLst>
            <pc:docMk/>
            <pc:sldMk cId="559240798" sldId="1093"/>
            <ac:spMk id="13" creationId="{0CE86C2E-3F6D-47F7-BCB9-A448CABB2558}"/>
          </ac:spMkLst>
        </pc:spChg>
        <pc:picChg chg="ord">
          <ac:chgData name="Michaelsen, Børje" userId="c36523e3-11ed-4011-9a41-1983019c0634" providerId="ADAL" clId="{BA52AB2D-98FC-4F94-A9B1-A54CAAD8D6A0}" dt="2023-09-19T10:49:39.487" v="1132"/>
          <ac:picMkLst>
            <pc:docMk/>
            <pc:sldMk cId="559240798" sldId="1093"/>
            <ac:picMk id="5" creationId="{ED8D46D5-65B2-4C20-A99F-362A277E9657}"/>
          </ac:picMkLst>
        </pc:picChg>
        <pc:picChg chg="mod ord">
          <ac:chgData name="Michaelsen, Børje" userId="c36523e3-11ed-4011-9a41-1983019c0634" providerId="ADAL" clId="{BA52AB2D-98FC-4F94-A9B1-A54CAAD8D6A0}" dt="2023-09-19T10:49:45.707" v="1136"/>
          <ac:picMkLst>
            <pc:docMk/>
            <pc:sldMk cId="559240798" sldId="1093"/>
            <ac:picMk id="14" creationId="{D38AD872-5B14-3B3B-CC4B-A27FDE0FAD49}"/>
          </ac:picMkLst>
        </pc:picChg>
        <pc:picChg chg="mod ord">
          <ac:chgData name="Michaelsen, Børje" userId="c36523e3-11ed-4011-9a41-1983019c0634" providerId="ADAL" clId="{BA52AB2D-98FC-4F94-A9B1-A54CAAD8D6A0}" dt="2023-09-19T10:49:57.144" v="1138"/>
          <ac:picMkLst>
            <pc:docMk/>
            <pc:sldMk cId="559240798" sldId="1093"/>
            <ac:picMk id="15" creationId="{A333B292-051C-35FA-CB3A-6C8DDBF7D768}"/>
          </ac:picMkLst>
        </pc:picChg>
        <pc:picChg chg="mod">
          <ac:chgData name="Michaelsen, Børje" userId="c36523e3-11ed-4011-9a41-1983019c0634" providerId="ADAL" clId="{BA52AB2D-98FC-4F94-A9B1-A54CAAD8D6A0}" dt="2023-09-19T10:42:40.721" v="1014" actId="962"/>
          <ac:picMkLst>
            <pc:docMk/>
            <pc:sldMk cId="559240798" sldId="1093"/>
            <ac:picMk id="16" creationId="{FD684063-B4AF-71C3-4ECD-F6658DB936D4}"/>
          </ac:picMkLst>
        </pc:picChg>
        <pc:picChg chg="mod ord">
          <ac:chgData name="Michaelsen, Børje" userId="c36523e3-11ed-4011-9a41-1983019c0634" providerId="ADAL" clId="{BA52AB2D-98FC-4F94-A9B1-A54CAAD8D6A0}" dt="2023-09-19T10:50:05.343" v="1143"/>
          <ac:picMkLst>
            <pc:docMk/>
            <pc:sldMk cId="559240798" sldId="1093"/>
            <ac:picMk id="17" creationId="{B2C037E3-EC8C-6455-CD28-39DBABA2B979}"/>
          </ac:picMkLst>
        </pc:picChg>
      </pc:sldChg>
      <pc:sldChg chg="addSp delSp modSp mod">
        <pc:chgData name="Michaelsen, Børje" userId="c36523e3-11ed-4011-9a41-1983019c0634" providerId="ADAL" clId="{BA52AB2D-98FC-4F94-A9B1-A54CAAD8D6A0}" dt="2023-09-29T13:15:04.311" v="1548"/>
        <pc:sldMkLst>
          <pc:docMk/>
          <pc:sldMk cId="2611775227" sldId="1095"/>
        </pc:sldMkLst>
        <pc:spChg chg="mod">
          <ac:chgData name="Michaelsen, Børje" userId="c36523e3-11ed-4011-9a41-1983019c0634" providerId="ADAL" clId="{BA52AB2D-98FC-4F94-A9B1-A54CAAD8D6A0}" dt="2023-09-29T13:14:46.995" v="1547" actId="14100"/>
          <ac:spMkLst>
            <pc:docMk/>
            <pc:sldMk cId="2611775227" sldId="1095"/>
            <ac:spMk id="2" creationId="{F435C770-84CE-FE99-7F0F-1CBC0D10658C}"/>
          </ac:spMkLst>
        </pc:spChg>
        <pc:spChg chg="add mod">
          <ac:chgData name="Michaelsen, Børje" userId="c36523e3-11ed-4011-9a41-1983019c0634" providerId="ADAL" clId="{BA52AB2D-98FC-4F94-A9B1-A54CAAD8D6A0}" dt="2023-09-29T13:15:04.311" v="1548"/>
          <ac:spMkLst>
            <pc:docMk/>
            <pc:sldMk cId="2611775227" sldId="1095"/>
            <ac:spMk id="3" creationId="{CD9C356F-661F-3726-B778-142AE42AD9EB}"/>
          </ac:spMkLst>
        </pc:spChg>
        <pc:spChg chg="mod">
          <ac:chgData name="Michaelsen, Børje" userId="c36523e3-11ed-4011-9a41-1983019c0634" providerId="ADAL" clId="{BA52AB2D-98FC-4F94-A9B1-A54CAAD8D6A0}" dt="2023-09-26T08:43:42.765" v="1323" actId="6549"/>
          <ac:spMkLst>
            <pc:docMk/>
            <pc:sldMk cId="2611775227" sldId="1095"/>
            <ac:spMk id="4" creationId="{5E03F8CB-2FC6-6289-5575-EDBBBBB03428}"/>
          </ac:spMkLst>
        </pc:spChg>
        <pc:picChg chg="del">
          <ac:chgData name="Michaelsen, Børje" userId="c36523e3-11ed-4011-9a41-1983019c0634" providerId="ADAL" clId="{BA52AB2D-98FC-4F94-A9B1-A54CAAD8D6A0}" dt="2023-09-26T08:42:33.411" v="1258" actId="478"/>
          <ac:picMkLst>
            <pc:docMk/>
            <pc:sldMk cId="2611775227" sldId="1095"/>
            <ac:picMk id="5" creationId="{8FD902E4-DF3C-27ED-02C8-4A3F73E439EC}"/>
          </ac:picMkLst>
        </pc:picChg>
        <pc:picChg chg="add mod">
          <ac:chgData name="Michaelsen, Børje" userId="c36523e3-11ed-4011-9a41-1983019c0634" providerId="ADAL" clId="{BA52AB2D-98FC-4F94-A9B1-A54CAAD8D6A0}" dt="2023-09-29T13:14:41.044" v="1546" actId="962"/>
          <ac:picMkLst>
            <pc:docMk/>
            <pc:sldMk cId="2611775227" sldId="1095"/>
            <ac:picMk id="6" creationId="{E3C0FC5F-41A2-7EE5-B057-ED4F1E5B5F1A}"/>
          </ac:picMkLst>
        </pc:picChg>
      </pc:sldChg>
      <pc:sldChg chg="addSp delSp modSp add mod">
        <pc:chgData name="Michaelsen, Børje" userId="c36523e3-11ed-4011-9a41-1983019c0634" providerId="ADAL" clId="{BA52AB2D-98FC-4F94-A9B1-A54CAAD8D6A0}" dt="2023-10-10T11:51:46.414" v="1679" actId="13244"/>
        <pc:sldMkLst>
          <pc:docMk/>
          <pc:sldMk cId="1610994730" sldId="1096"/>
        </pc:sldMkLst>
        <pc:spChg chg="mod">
          <ac:chgData name="Michaelsen, Børje" userId="c36523e3-11ed-4011-9a41-1983019c0634" providerId="ADAL" clId="{BA52AB2D-98FC-4F94-A9B1-A54CAAD8D6A0}" dt="2023-10-10T11:47:55.734" v="1574" actId="20577"/>
          <ac:spMkLst>
            <pc:docMk/>
            <pc:sldMk cId="1610994730" sldId="1096"/>
            <ac:spMk id="7" creationId="{00000000-0000-0000-0000-000000000000}"/>
          </ac:spMkLst>
        </pc:spChg>
        <pc:spChg chg="mod">
          <ac:chgData name="Michaelsen, Børje" userId="c36523e3-11ed-4011-9a41-1983019c0634" providerId="ADAL" clId="{BA52AB2D-98FC-4F94-A9B1-A54CAAD8D6A0}" dt="2023-10-10T11:49:51.521" v="1671" actId="20577"/>
          <ac:spMkLst>
            <pc:docMk/>
            <pc:sldMk cId="1610994730" sldId="1096"/>
            <ac:spMk id="16" creationId="{01B63842-A613-4DE2-23CF-65894B874DE1}"/>
          </ac:spMkLst>
        </pc:spChg>
        <pc:graphicFrameChg chg="mod">
          <ac:chgData name="Michaelsen, Børje" userId="c36523e3-11ed-4011-9a41-1983019c0634" providerId="ADAL" clId="{BA52AB2D-98FC-4F94-A9B1-A54CAAD8D6A0}" dt="2023-10-10T11:51:05.924" v="1676" actId="404"/>
          <ac:graphicFrameMkLst>
            <pc:docMk/>
            <pc:sldMk cId="1610994730" sldId="1096"/>
            <ac:graphicFrameMk id="12" creationId="{02F3DED4-52B2-ED4A-F002-268A294A1591}"/>
          </ac:graphicFrameMkLst>
        </pc:graphicFrameChg>
        <pc:picChg chg="del">
          <ac:chgData name="Michaelsen, Børje" userId="c36523e3-11ed-4011-9a41-1983019c0634" providerId="ADAL" clId="{BA52AB2D-98FC-4F94-A9B1-A54CAAD8D6A0}" dt="2023-10-10T11:50:14.644" v="1672" actId="478"/>
          <ac:picMkLst>
            <pc:docMk/>
            <pc:sldMk cId="1610994730" sldId="1096"/>
            <ac:picMk id="4" creationId="{F6835613-0859-555F-1993-ED905A26FCBC}"/>
          </ac:picMkLst>
        </pc:picChg>
        <pc:picChg chg="add mod ord">
          <ac:chgData name="Michaelsen, Børje" userId="c36523e3-11ed-4011-9a41-1983019c0634" providerId="ADAL" clId="{BA52AB2D-98FC-4F94-A9B1-A54CAAD8D6A0}" dt="2023-10-10T11:51:46.414" v="1679" actId="13244"/>
          <ac:picMkLst>
            <pc:docMk/>
            <pc:sldMk cId="1610994730" sldId="1096"/>
            <ac:picMk id="5" creationId="{FAA694B8-ED19-28F8-2D38-7B364AB484E4}"/>
          </ac:picMkLst>
        </pc:picChg>
      </pc:sldChg>
    </pc:docChg>
  </pc:docChgLst>
  <pc:docChgLst>
    <pc:chgData name="Frøystein, Oddmund" userId="S::oddmund.froystein@agderfk.no::f26153e0-b432-43d6-86cb-ef0c15d1b72a" providerId="AD" clId="Web-{2817EC67-4363-4DCA-A6A2-90B94EDC1A90}"/>
    <pc:docChg chg="modSld">
      <pc:chgData name="Frøystein, Oddmund" userId="S::oddmund.froystein@agderfk.no::f26153e0-b432-43d6-86cb-ef0c15d1b72a" providerId="AD" clId="Web-{2817EC67-4363-4DCA-A6A2-90B94EDC1A90}" dt="2021-09-20T11:44:57.286" v="249"/>
      <pc:docMkLst>
        <pc:docMk/>
      </pc:docMkLst>
      <pc:sldChg chg="modSp">
        <pc:chgData name="Frøystein, Oddmund" userId="S::oddmund.froystein@agderfk.no::f26153e0-b432-43d6-86cb-ef0c15d1b72a" providerId="AD" clId="Web-{2817EC67-4363-4DCA-A6A2-90B94EDC1A90}" dt="2021-09-20T11:44:57.286" v="249"/>
        <pc:sldMkLst>
          <pc:docMk/>
          <pc:sldMk cId="1380386693" sldId="260"/>
        </pc:sldMkLst>
        <pc:graphicFrameChg chg="mod modGraphic">
          <ac:chgData name="Frøystein, Oddmund" userId="S::oddmund.froystein@agderfk.no::f26153e0-b432-43d6-86cb-ef0c15d1b72a" providerId="AD" clId="Web-{2817EC67-4363-4DCA-A6A2-90B94EDC1A90}" dt="2021-09-20T11:44:57.286" v="249"/>
          <ac:graphicFrameMkLst>
            <pc:docMk/>
            <pc:sldMk cId="1380386693" sldId="260"/>
            <ac:graphicFrameMk id="9" creationId="{00000000-0000-0000-0000-000000000000}"/>
          </ac:graphicFrameMkLst>
        </pc:graphicFrameChg>
      </pc:sldChg>
    </pc:docChg>
  </pc:docChgLst>
  <pc:docChgLst>
    <pc:chgData name="Lindaas, Gunnar Ogwyn" userId="9f116345-df17-4e62-ba90-3f104129b024" providerId="ADAL" clId="{42A8E43C-39C0-4DDD-B76E-641D047D62CE}"/>
    <pc:docChg chg="modSld">
      <pc:chgData name="Lindaas, Gunnar Ogwyn" userId="9f116345-df17-4e62-ba90-3f104129b024" providerId="ADAL" clId="{42A8E43C-39C0-4DDD-B76E-641D047D62CE}" dt="2022-08-16T19:56:06.260" v="57" actId="20577"/>
      <pc:docMkLst>
        <pc:docMk/>
      </pc:docMkLst>
      <pc:sldChg chg="addSp modSp mod">
        <pc:chgData name="Lindaas, Gunnar Ogwyn" userId="9f116345-df17-4e62-ba90-3f104129b024" providerId="ADAL" clId="{42A8E43C-39C0-4DDD-B76E-641D047D62CE}" dt="2022-08-16T19:56:06.260" v="57" actId="20577"/>
        <pc:sldMkLst>
          <pc:docMk/>
          <pc:sldMk cId="2044844844" sldId="273"/>
        </pc:sldMkLst>
        <pc:spChg chg="add mod">
          <ac:chgData name="Lindaas, Gunnar Ogwyn" userId="9f116345-df17-4e62-ba90-3f104129b024" providerId="ADAL" clId="{42A8E43C-39C0-4DDD-B76E-641D047D62CE}" dt="2022-08-16T19:53:43.469" v="0"/>
          <ac:spMkLst>
            <pc:docMk/>
            <pc:sldMk cId="2044844844" sldId="273"/>
            <ac:spMk id="3" creationId="{EA27315D-BF06-2FF4-884F-4E1145CA365E}"/>
          </ac:spMkLst>
        </pc:spChg>
        <pc:spChg chg="mod">
          <ac:chgData name="Lindaas, Gunnar Ogwyn" userId="9f116345-df17-4e62-ba90-3f104129b024" providerId="ADAL" clId="{42A8E43C-39C0-4DDD-B76E-641D047D62CE}" dt="2022-08-16T19:56:06.260" v="57" actId="20577"/>
          <ac:spMkLst>
            <pc:docMk/>
            <pc:sldMk cId="2044844844" sldId="273"/>
            <ac:spMk id="5" creationId="{00000000-0000-0000-0000-000000000000}"/>
          </ac:spMkLst>
        </pc:spChg>
        <pc:picChg chg="mod">
          <ac:chgData name="Lindaas, Gunnar Ogwyn" userId="9f116345-df17-4e62-ba90-3f104129b024" providerId="ADAL" clId="{42A8E43C-39C0-4DDD-B76E-641D047D62CE}" dt="2022-08-16T19:54:34.934" v="12" actId="14826"/>
          <ac:picMkLst>
            <pc:docMk/>
            <pc:sldMk cId="2044844844" sldId="273"/>
            <ac:picMk id="4" creationId="{00000000-0000-0000-0000-000000000000}"/>
          </ac:picMkLst>
        </pc:picChg>
      </pc:sldChg>
    </pc:docChg>
  </pc:docChgLst>
  <pc:docChgLst>
    <pc:chgData name="Lindaas, Gunnar Ogwyn" userId="9f116345-df17-4e62-ba90-3f104129b024" providerId="ADAL" clId="{07EFFF4B-7902-4915-9257-7D972DF4FCF0}"/>
    <pc:docChg chg="modSld">
      <pc:chgData name="Lindaas, Gunnar Ogwyn" userId="9f116345-df17-4e62-ba90-3f104129b024" providerId="ADAL" clId="{07EFFF4B-7902-4915-9257-7D972DF4FCF0}" dt="2023-09-21T12:37:38.152" v="13" actId="20577"/>
      <pc:docMkLst>
        <pc:docMk/>
      </pc:docMkLst>
      <pc:sldChg chg="modSp mod">
        <pc:chgData name="Lindaas, Gunnar Ogwyn" userId="9f116345-df17-4e62-ba90-3f104129b024" providerId="ADAL" clId="{07EFFF4B-7902-4915-9257-7D972DF4FCF0}" dt="2023-09-21T12:37:38.152" v="13" actId="20577"/>
        <pc:sldMkLst>
          <pc:docMk/>
          <pc:sldMk cId="2044844844" sldId="273"/>
        </pc:sldMkLst>
        <pc:spChg chg="mod">
          <ac:chgData name="Lindaas, Gunnar Ogwyn" userId="9f116345-df17-4e62-ba90-3f104129b024" providerId="ADAL" clId="{07EFFF4B-7902-4915-9257-7D972DF4FCF0}" dt="2023-09-21T12:37:38.152" v="13" actId="20577"/>
          <ac:spMkLst>
            <pc:docMk/>
            <pc:sldMk cId="2044844844" sldId="273"/>
            <ac:spMk id="5" creationId="{00000000-0000-0000-0000-000000000000}"/>
          </ac:spMkLst>
        </pc:spChg>
        <pc:picChg chg="mod">
          <ac:chgData name="Lindaas, Gunnar Ogwyn" userId="9f116345-df17-4e62-ba90-3f104129b024" providerId="ADAL" clId="{07EFFF4B-7902-4915-9257-7D972DF4FCF0}" dt="2023-09-21T12:36:17.608" v="4" actId="14826"/>
          <ac:picMkLst>
            <pc:docMk/>
            <pc:sldMk cId="2044844844" sldId="273"/>
            <ac:picMk id="4" creationId="{00000000-0000-0000-0000-000000000000}"/>
          </ac:picMkLst>
        </pc:picChg>
      </pc:sldChg>
    </pc:docChg>
  </pc:docChgLst>
  <pc:docChgLst>
    <pc:chgData name="Danielsen, Inger-Johanne" userId="S::inger-johanne.danielsen@agderfk.no::0ea002c9-de1c-4a7f-9aab-7b2dadba6978" providerId="AD" clId="Web-{C0C2B869-D039-47F6-B978-ED888E87D3C6}"/>
    <pc:docChg chg="modSld">
      <pc:chgData name="Danielsen, Inger-Johanne" userId="S::inger-johanne.danielsen@agderfk.no::0ea002c9-de1c-4a7f-9aab-7b2dadba6978" providerId="AD" clId="Web-{C0C2B869-D039-47F6-B978-ED888E87D3C6}" dt="2021-09-20T11:44:12.407" v="39" actId="1076"/>
      <pc:docMkLst>
        <pc:docMk/>
      </pc:docMkLst>
      <pc:sldChg chg="addSp delSp modSp">
        <pc:chgData name="Danielsen, Inger-Johanne" userId="S::inger-johanne.danielsen@agderfk.no::0ea002c9-de1c-4a7f-9aab-7b2dadba6978" providerId="AD" clId="Web-{C0C2B869-D039-47F6-B978-ED888E87D3C6}" dt="2021-09-20T11:44:12.407" v="39" actId="1076"/>
        <pc:sldMkLst>
          <pc:docMk/>
          <pc:sldMk cId="317289737" sldId="265"/>
        </pc:sldMkLst>
        <pc:spChg chg="del">
          <ac:chgData name="Danielsen, Inger-Johanne" userId="S::inger-johanne.danielsen@agderfk.no::0ea002c9-de1c-4a7f-9aab-7b2dadba6978" providerId="AD" clId="Web-{C0C2B869-D039-47F6-B978-ED888E87D3C6}" dt="2021-09-20T11:37:12.930" v="3"/>
          <ac:spMkLst>
            <pc:docMk/>
            <pc:sldMk cId="317289737" sldId="265"/>
            <ac:spMk id="2" creationId="{00000000-0000-0000-0000-000000000000}"/>
          </ac:spMkLst>
        </pc:spChg>
        <pc:spChg chg="del">
          <ac:chgData name="Danielsen, Inger-Johanne" userId="S::inger-johanne.danielsen@agderfk.no::0ea002c9-de1c-4a7f-9aab-7b2dadba6978" providerId="AD" clId="Web-{C0C2B869-D039-47F6-B978-ED888E87D3C6}" dt="2021-09-20T11:36:53.399" v="0"/>
          <ac:spMkLst>
            <pc:docMk/>
            <pc:sldMk cId="317289737" sldId="265"/>
            <ac:spMk id="3" creationId="{00000000-0000-0000-0000-000000000000}"/>
          </ac:spMkLst>
        </pc:spChg>
        <pc:spChg chg="add mod">
          <ac:chgData name="Danielsen, Inger-Johanne" userId="S::inger-johanne.danielsen@agderfk.no::0ea002c9-de1c-4a7f-9aab-7b2dadba6978" providerId="AD" clId="Web-{C0C2B869-D039-47F6-B978-ED888E87D3C6}" dt="2021-09-20T11:44:12.407" v="39" actId="1076"/>
          <ac:spMkLst>
            <pc:docMk/>
            <pc:sldMk cId="317289737" sldId="265"/>
            <ac:spMk id="6" creationId="{FCC9E5C7-FD57-4AA7-8F9C-F16EAF39D42D}"/>
          </ac:spMkLst>
        </pc:spChg>
        <pc:spChg chg="add mod">
          <ac:chgData name="Danielsen, Inger-Johanne" userId="S::inger-johanne.danielsen@agderfk.no::0ea002c9-de1c-4a7f-9aab-7b2dadba6978" providerId="AD" clId="Web-{C0C2B869-D039-47F6-B978-ED888E87D3C6}" dt="2021-09-20T11:43:44.438" v="34"/>
          <ac:spMkLst>
            <pc:docMk/>
            <pc:sldMk cId="317289737" sldId="265"/>
            <ac:spMk id="7" creationId="{20B803A4-135B-4450-BECA-58E3E4C52598}"/>
          </ac:spMkLst>
        </pc:spChg>
        <pc:picChg chg="add mod ord">
          <ac:chgData name="Danielsen, Inger-Johanne" userId="S::inger-johanne.danielsen@agderfk.no::0ea002c9-de1c-4a7f-9aab-7b2dadba6978" providerId="AD" clId="Web-{C0C2B869-D039-47F6-B978-ED888E87D3C6}" dt="2021-09-20T11:44:08.797" v="38" actId="1076"/>
          <ac:picMkLst>
            <pc:docMk/>
            <pc:sldMk cId="317289737" sldId="265"/>
            <ac:picMk id="4" creationId="{849A1CC5-BE38-41BE-AB4F-D0E461885513}"/>
          </ac:picMkLst>
        </pc:picChg>
        <pc:picChg chg="add del mod ord">
          <ac:chgData name="Danielsen, Inger-Johanne" userId="S::inger-johanne.danielsen@agderfk.no::0ea002c9-de1c-4a7f-9aab-7b2dadba6978" providerId="AD" clId="Web-{C0C2B869-D039-47F6-B978-ED888E87D3C6}" dt="2021-09-20T11:40:37.247" v="25"/>
          <ac:picMkLst>
            <pc:docMk/>
            <pc:sldMk cId="317289737" sldId="265"/>
            <ac:picMk id="5" creationId="{D4A9B6B3-C465-4E37-B7E0-7ED695403596}"/>
          </ac:picMkLst>
        </pc:picChg>
      </pc:sldChg>
    </pc:docChg>
  </pc:docChgLst>
  <pc:docChgLst>
    <pc:chgData name="Michaelsen, Børje" userId="c36523e3-11ed-4011-9a41-1983019c0634" providerId="ADAL" clId="{408EBEF7-FBC7-4735-A8C0-F85DBCD59132}"/>
    <pc:docChg chg="custSel modSld">
      <pc:chgData name="Michaelsen, Børje" userId="c36523e3-11ed-4011-9a41-1983019c0634" providerId="ADAL" clId="{408EBEF7-FBC7-4735-A8C0-F85DBCD59132}" dt="2024-09-20T09:02:18.308" v="74" actId="20577"/>
      <pc:docMkLst>
        <pc:docMk/>
      </pc:docMkLst>
      <pc:sldChg chg="modSp mod">
        <pc:chgData name="Michaelsen, Børje" userId="c36523e3-11ed-4011-9a41-1983019c0634" providerId="ADAL" clId="{408EBEF7-FBC7-4735-A8C0-F85DBCD59132}" dt="2024-09-13T07:26:57.211" v="47" actId="13238"/>
        <pc:sldMkLst>
          <pc:docMk/>
          <pc:sldMk cId="3237931907" sldId="263"/>
        </pc:sldMkLst>
        <pc:graphicFrameChg chg="modGraphic">
          <ac:chgData name="Michaelsen, Børje" userId="c36523e3-11ed-4011-9a41-1983019c0634" providerId="ADAL" clId="{408EBEF7-FBC7-4735-A8C0-F85DBCD59132}" dt="2024-09-13T07:26:57.211" v="47" actId="13238"/>
          <ac:graphicFrameMkLst>
            <pc:docMk/>
            <pc:sldMk cId="3237931907" sldId="263"/>
            <ac:graphicFrameMk id="8" creationId="{A2EA6BEA-40CE-FEB6-297B-67375B9B5C12}"/>
          </ac:graphicFrameMkLst>
        </pc:graphicFrameChg>
      </pc:sldChg>
      <pc:sldChg chg="modSp">
        <pc:chgData name="Michaelsen, Børje" userId="c36523e3-11ed-4011-9a41-1983019c0634" providerId="ADAL" clId="{408EBEF7-FBC7-4735-A8C0-F85DBCD59132}" dt="2024-09-20T09:01:35.379" v="52" actId="962"/>
        <pc:sldMkLst>
          <pc:docMk/>
          <pc:sldMk cId="1763573476" sldId="269"/>
        </pc:sldMkLst>
        <pc:graphicFrameChg chg="mod">
          <ac:chgData name="Michaelsen, Børje" userId="c36523e3-11ed-4011-9a41-1983019c0634" providerId="ADAL" clId="{408EBEF7-FBC7-4735-A8C0-F85DBCD59132}" dt="2024-09-20T09:01:35.379" v="52" actId="962"/>
          <ac:graphicFrameMkLst>
            <pc:docMk/>
            <pc:sldMk cId="1763573476" sldId="269"/>
            <ac:graphicFrameMk id="5" creationId="{2F5FB7D3-232A-E4BD-5BFD-37DF36511B5E}"/>
          </ac:graphicFrameMkLst>
        </pc:graphicFrameChg>
      </pc:sldChg>
      <pc:sldChg chg="addSp delSp modSp mod">
        <pc:chgData name="Michaelsen, Børje" userId="c36523e3-11ed-4011-9a41-1983019c0634" providerId="ADAL" clId="{408EBEF7-FBC7-4735-A8C0-F85DBCD59132}" dt="2024-09-13T07:28:35.773" v="50" actId="962"/>
        <pc:sldMkLst>
          <pc:docMk/>
          <pc:sldMk cId="340623003" sldId="274"/>
        </pc:sldMkLst>
        <pc:spChg chg="mod">
          <ac:chgData name="Michaelsen, Børje" userId="c36523e3-11ed-4011-9a41-1983019c0634" providerId="ADAL" clId="{408EBEF7-FBC7-4735-A8C0-F85DBCD59132}" dt="2024-09-13T07:23:25.481" v="9" actId="14100"/>
          <ac:spMkLst>
            <pc:docMk/>
            <pc:sldMk cId="340623003" sldId="274"/>
            <ac:spMk id="4" creationId="{00000000-0000-0000-0000-000000000000}"/>
          </ac:spMkLst>
        </pc:spChg>
        <pc:spChg chg="mod">
          <ac:chgData name="Michaelsen, Børje" userId="c36523e3-11ed-4011-9a41-1983019c0634" providerId="ADAL" clId="{408EBEF7-FBC7-4735-A8C0-F85DBCD59132}" dt="2024-09-13T07:24:41.381" v="44" actId="6549"/>
          <ac:spMkLst>
            <pc:docMk/>
            <pc:sldMk cId="340623003" sldId="274"/>
            <ac:spMk id="8" creationId="{00000000-0000-0000-0000-000000000000}"/>
          </ac:spMkLst>
        </pc:spChg>
        <pc:picChg chg="del">
          <ac:chgData name="Michaelsen, Børje" userId="c36523e3-11ed-4011-9a41-1983019c0634" providerId="ADAL" clId="{408EBEF7-FBC7-4735-A8C0-F85DBCD59132}" dt="2024-09-13T07:22:59.521" v="1" actId="478"/>
          <ac:picMkLst>
            <pc:docMk/>
            <pc:sldMk cId="340623003" sldId="274"/>
            <ac:picMk id="3" creationId="{00000000-0000-0000-0000-000000000000}"/>
          </ac:picMkLst>
        </pc:picChg>
        <pc:picChg chg="ord">
          <ac:chgData name="Michaelsen, Børje" userId="c36523e3-11ed-4011-9a41-1983019c0634" providerId="ADAL" clId="{408EBEF7-FBC7-4735-A8C0-F85DBCD59132}" dt="2024-09-13T07:28:25.839" v="48" actId="13244"/>
          <ac:picMkLst>
            <pc:docMk/>
            <pc:sldMk cId="340623003" sldId="274"/>
            <ac:picMk id="6" creationId="{1D5229CC-F532-2D1B-A952-AE8D120E057B}"/>
          </ac:picMkLst>
        </pc:picChg>
        <pc:picChg chg="add mod ord">
          <ac:chgData name="Michaelsen, Børje" userId="c36523e3-11ed-4011-9a41-1983019c0634" providerId="ADAL" clId="{408EBEF7-FBC7-4735-A8C0-F85DBCD59132}" dt="2024-09-13T07:28:35.773" v="50" actId="962"/>
          <ac:picMkLst>
            <pc:docMk/>
            <pc:sldMk cId="340623003" sldId="274"/>
            <ac:picMk id="9" creationId="{B9A19ADC-7D9D-3247-2D17-79A9F3DF0E7D}"/>
          </ac:picMkLst>
        </pc:picChg>
      </pc:sldChg>
      <pc:sldChg chg="modSp">
        <pc:chgData name="Michaelsen, Børje" userId="c36523e3-11ed-4011-9a41-1983019c0634" providerId="ADAL" clId="{408EBEF7-FBC7-4735-A8C0-F85DBCD59132}" dt="2024-09-13T07:21:56.456" v="0" actId="207"/>
        <pc:sldMkLst>
          <pc:docMk/>
          <pc:sldMk cId="3663715429" sldId="292"/>
        </pc:sldMkLst>
        <pc:graphicFrameChg chg="mod">
          <ac:chgData name="Michaelsen, Børje" userId="c36523e3-11ed-4011-9a41-1983019c0634" providerId="ADAL" clId="{408EBEF7-FBC7-4735-A8C0-F85DBCD59132}" dt="2024-09-13T07:21:56.456" v="0" actId="207"/>
          <ac:graphicFrameMkLst>
            <pc:docMk/>
            <pc:sldMk cId="3663715429" sldId="292"/>
            <ac:graphicFrameMk id="8" creationId="{00000000-0008-0000-0100-000002000000}"/>
          </ac:graphicFrameMkLst>
        </pc:graphicFrameChg>
      </pc:sldChg>
      <pc:sldChg chg="modSp mod">
        <pc:chgData name="Michaelsen, Børje" userId="c36523e3-11ed-4011-9a41-1983019c0634" providerId="ADAL" clId="{408EBEF7-FBC7-4735-A8C0-F85DBCD59132}" dt="2024-09-20T09:02:06.750" v="58" actId="962"/>
        <pc:sldMkLst>
          <pc:docMk/>
          <pc:sldMk cId="559240798" sldId="1093"/>
        </pc:sldMkLst>
        <pc:picChg chg="mod">
          <ac:chgData name="Michaelsen, Børje" userId="c36523e3-11ed-4011-9a41-1983019c0634" providerId="ADAL" clId="{408EBEF7-FBC7-4735-A8C0-F85DBCD59132}" dt="2024-09-20T09:01:51.322" v="54" actId="962"/>
          <ac:picMkLst>
            <pc:docMk/>
            <pc:sldMk cId="559240798" sldId="1093"/>
            <ac:picMk id="2" creationId="{333F0582-1B81-2B2D-514C-5392A0CF50B6}"/>
          </ac:picMkLst>
        </pc:picChg>
        <pc:picChg chg="mod">
          <ac:chgData name="Michaelsen, Børje" userId="c36523e3-11ed-4011-9a41-1983019c0634" providerId="ADAL" clId="{408EBEF7-FBC7-4735-A8C0-F85DBCD59132}" dt="2024-09-20T09:02:06.750" v="58" actId="962"/>
          <ac:picMkLst>
            <pc:docMk/>
            <pc:sldMk cId="559240798" sldId="1093"/>
            <ac:picMk id="3" creationId="{4589F266-D87D-8F47-5EAD-81677CFEF623}"/>
          </ac:picMkLst>
        </pc:picChg>
        <pc:picChg chg="mod">
          <ac:chgData name="Michaelsen, Børje" userId="c36523e3-11ed-4011-9a41-1983019c0634" providerId="ADAL" clId="{408EBEF7-FBC7-4735-A8C0-F85DBCD59132}" dt="2024-09-20T09:01:58.919" v="56" actId="962"/>
          <ac:picMkLst>
            <pc:docMk/>
            <pc:sldMk cId="559240798" sldId="1093"/>
            <ac:picMk id="4" creationId="{500D2BE8-D8AA-E9C4-F713-9CF796726C59}"/>
          </ac:picMkLst>
        </pc:picChg>
      </pc:sldChg>
      <pc:sldChg chg="modNotesTx">
        <pc:chgData name="Michaelsen, Børje" userId="c36523e3-11ed-4011-9a41-1983019c0634" providerId="ADAL" clId="{408EBEF7-FBC7-4735-A8C0-F85DBCD59132}" dt="2024-09-20T09:02:18.308" v="74" actId="20577"/>
        <pc:sldMkLst>
          <pc:docMk/>
          <pc:sldMk cId="2611775227" sldId="1095"/>
        </pc:sldMkLst>
      </pc:sldChg>
    </pc:docChg>
  </pc:docChgLst>
  <pc:docChgLst>
    <pc:chgData name="Michaelsen, Børje" userId="c36523e3-11ed-4011-9a41-1983019c0634" providerId="ADAL" clId="{96486809-D1AC-4F46-8D49-F7867B4A9C07}"/>
    <pc:docChg chg="custSel modSld">
      <pc:chgData name="Michaelsen, Børje" userId="c36523e3-11ed-4011-9a41-1983019c0634" providerId="ADAL" clId="{96486809-D1AC-4F46-8D49-F7867B4A9C07}" dt="2024-12-16T09:30:33.411" v="7" actId="14100"/>
      <pc:docMkLst>
        <pc:docMk/>
      </pc:docMkLst>
      <pc:sldChg chg="addSp delSp modSp mod modNotesTx">
        <pc:chgData name="Michaelsen, Børje" userId="c36523e3-11ed-4011-9a41-1983019c0634" providerId="ADAL" clId="{96486809-D1AC-4F46-8D49-F7867B4A9C07}" dt="2024-12-16T09:30:33.411" v="7" actId="14100"/>
        <pc:sldMkLst>
          <pc:docMk/>
          <pc:sldMk cId="4206418978" sldId="283"/>
        </pc:sldMkLst>
        <pc:spChg chg="mod">
          <ac:chgData name="Michaelsen, Børje" userId="c36523e3-11ed-4011-9a41-1983019c0634" providerId="ADAL" clId="{96486809-D1AC-4F46-8D49-F7867B4A9C07}" dt="2024-12-16T09:29:44.929" v="2" actId="20577"/>
          <ac:spMkLst>
            <pc:docMk/>
            <pc:sldMk cId="4206418978" sldId="283"/>
            <ac:spMk id="12" creationId="{00000000-0000-0000-0000-000000000000}"/>
          </ac:spMkLst>
        </pc:spChg>
        <pc:graphicFrameChg chg="add mod">
          <ac:chgData name="Michaelsen, Børje" userId="c36523e3-11ed-4011-9a41-1983019c0634" providerId="ADAL" clId="{96486809-D1AC-4F46-8D49-F7867B4A9C07}" dt="2024-12-16T09:30:33.411" v="7" actId="14100"/>
          <ac:graphicFrameMkLst>
            <pc:docMk/>
            <pc:sldMk cId="4206418978" sldId="283"/>
            <ac:graphicFrameMk id="2" creationId="{79A0F035-6E3E-5A03-587D-E8262889D0DF}"/>
          </ac:graphicFrameMkLst>
        </pc:graphicFrameChg>
        <pc:graphicFrameChg chg="del">
          <ac:chgData name="Michaelsen, Børje" userId="c36523e3-11ed-4011-9a41-1983019c0634" providerId="ADAL" clId="{96486809-D1AC-4F46-8D49-F7867B4A9C07}" dt="2024-12-16T09:29:48.189" v="3" actId="478"/>
          <ac:graphicFrameMkLst>
            <pc:docMk/>
            <pc:sldMk cId="4206418978" sldId="283"/>
            <ac:graphicFrameMk id="3" creationId="{CCD598CE-C79E-F23D-EB38-73FA8DFA7F8A}"/>
          </ac:graphicFrameMkLst>
        </pc:graphicFrameChg>
      </pc:sldChg>
    </pc:docChg>
  </pc:docChgLst>
  <pc:docChgLst>
    <pc:chgData name="Michaelsen, Børje" userId="c36523e3-11ed-4011-9a41-1983019c0634" providerId="ADAL" clId="{6A4D8AC4-8423-4262-9E92-0D577FEF4C13}"/>
    <pc:docChg chg="custSel modSld">
      <pc:chgData name="Michaelsen, Børje" userId="c36523e3-11ed-4011-9a41-1983019c0634" providerId="ADAL" clId="{6A4D8AC4-8423-4262-9E92-0D577FEF4C13}" dt="2024-11-11T09:06:03.362" v="52" actId="20577"/>
      <pc:docMkLst>
        <pc:docMk/>
      </pc:docMkLst>
      <pc:sldChg chg="addSp delSp modSp mod">
        <pc:chgData name="Michaelsen, Børje" userId="c36523e3-11ed-4011-9a41-1983019c0634" providerId="ADAL" clId="{6A4D8AC4-8423-4262-9E92-0D577FEF4C13}" dt="2024-10-29T20:23:15.301" v="16"/>
        <pc:sldMkLst>
          <pc:docMk/>
          <pc:sldMk cId="3237931907" sldId="263"/>
        </pc:sldMkLst>
        <pc:graphicFrameChg chg="del">
          <ac:chgData name="Michaelsen, Børje" userId="c36523e3-11ed-4011-9a41-1983019c0634" providerId="ADAL" clId="{6A4D8AC4-8423-4262-9E92-0D577FEF4C13}" dt="2024-10-29T20:22:37.513" v="9" actId="478"/>
          <ac:graphicFrameMkLst>
            <pc:docMk/>
            <pc:sldMk cId="3237931907" sldId="263"/>
            <ac:graphicFrameMk id="3" creationId="{900796C7-9568-AA7D-48B1-D162673FAB3E}"/>
          </ac:graphicFrameMkLst>
        </pc:graphicFrameChg>
        <pc:graphicFrameChg chg="del">
          <ac:chgData name="Michaelsen, Børje" userId="c36523e3-11ed-4011-9a41-1983019c0634" providerId="ADAL" clId="{6A4D8AC4-8423-4262-9E92-0D577FEF4C13}" dt="2024-10-29T20:22:46.976" v="12" actId="478"/>
          <ac:graphicFrameMkLst>
            <pc:docMk/>
            <pc:sldMk cId="3237931907" sldId="263"/>
            <ac:graphicFrameMk id="4" creationId="{E5C71C2E-AF53-CAD5-0770-CF80592B48C1}"/>
          </ac:graphicFrameMkLst>
        </pc:graphicFrameChg>
        <pc:graphicFrameChg chg="add mod">
          <ac:chgData name="Michaelsen, Børje" userId="c36523e3-11ed-4011-9a41-1983019c0634" providerId="ADAL" clId="{6A4D8AC4-8423-4262-9E92-0D577FEF4C13}" dt="2024-10-29T20:22:42.112" v="11" actId="1076"/>
          <ac:graphicFrameMkLst>
            <pc:docMk/>
            <pc:sldMk cId="3237931907" sldId="263"/>
            <ac:graphicFrameMk id="5" creationId="{900796C7-9568-AA7D-48B1-D162673FAB3E}"/>
          </ac:graphicFrameMkLst>
        </pc:graphicFrameChg>
        <pc:graphicFrameChg chg="add mod">
          <ac:chgData name="Michaelsen, Børje" userId="c36523e3-11ed-4011-9a41-1983019c0634" providerId="ADAL" clId="{6A4D8AC4-8423-4262-9E92-0D577FEF4C13}" dt="2024-10-29T20:23:15.301" v="16"/>
          <ac:graphicFrameMkLst>
            <pc:docMk/>
            <pc:sldMk cId="3237931907" sldId="263"/>
            <ac:graphicFrameMk id="6" creationId="{E5C71C2E-AF53-CAD5-0770-CF80592B48C1}"/>
          </ac:graphicFrameMkLst>
        </pc:graphicFrameChg>
      </pc:sldChg>
      <pc:sldChg chg="modSp mod">
        <pc:chgData name="Michaelsen, Børje" userId="c36523e3-11ed-4011-9a41-1983019c0634" providerId="ADAL" clId="{6A4D8AC4-8423-4262-9E92-0D577FEF4C13}" dt="2024-10-29T20:22:15.836" v="8" actId="1076"/>
        <pc:sldMkLst>
          <pc:docMk/>
          <pc:sldMk cId="1348694183" sldId="272"/>
        </pc:sldMkLst>
        <pc:spChg chg="mod">
          <ac:chgData name="Michaelsen, Børje" userId="c36523e3-11ed-4011-9a41-1983019c0634" providerId="ADAL" clId="{6A4D8AC4-8423-4262-9E92-0D577FEF4C13}" dt="2024-10-29T20:22:15.836" v="8" actId="1076"/>
          <ac:spMkLst>
            <pc:docMk/>
            <pc:sldMk cId="1348694183" sldId="272"/>
            <ac:spMk id="8" creationId="{6AA3FE37-C265-96AA-8008-EE89CF86C0C3}"/>
          </ac:spMkLst>
        </pc:spChg>
      </pc:sldChg>
      <pc:sldChg chg="addSp delSp modSp mod">
        <pc:chgData name="Michaelsen, Børje" userId="c36523e3-11ed-4011-9a41-1983019c0634" providerId="ADAL" clId="{6A4D8AC4-8423-4262-9E92-0D577FEF4C13}" dt="2024-10-29T20:25:48.063" v="24" actId="14100"/>
        <pc:sldMkLst>
          <pc:docMk/>
          <pc:sldMk cId="4110371661" sldId="275"/>
        </pc:sldMkLst>
        <pc:graphicFrameChg chg="add mod">
          <ac:chgData name="Michaelsen, Børje" userId="c36523e3-11ed-4011-9a41-1983019c0634" providerId="ADAL" clId="{6A4D8AC4-8423-4262-9E92-0D577FEF4C13}" dt="2024-10-29T20:25:48.063" v="24" actId="14100"/>
          <ac:graphicFrameMkLst>
            <pc:docMk/>
            <pc:sldMk cId="4110371661" sldId="275"/>
            <ac:graphicFrameMk id="5" creationId="{A9AB4960-5BA5-6AF9-F3ED-65DFE4591263}"/>
          </ac:graphicFrameMkLst>
        </pc:graphicFrameChg>
        <pc:graphicFrameChg chg="del">
          <ac:chgData name="Michaelsen, Børje" userId="c36523e3-11ed-4011-9a41-1983019c0634" providerId="ADAL" clId="{6A4D8AC4-8423-4262-9E92-0D577FEF4C13}" dt="2024-10-29T20:25:39.579" v="21" actId="478"/>
          <ac:graphicFrameMkLst>
            <pc:docMk/>
            <pc:sldMk cId="4110371661" sldId="275"/>
            <ac:graphicFrameMk id="6" creationId="{A9AB4960-5BA5-6AF9-F3ED-65DFE4591263}"/>
          </ac:graphicFrameMkLst>
        </pc:graphicFrameChg>
      </pc:sldChg>
      <pc:sldChg chg="addSp delSp modSp mod">
        <pc:chgData name="Michaelsen, Børje" userId="c36523e3-11ed-4011-9a41-1983019c0634" providerId="ADAL" clId="{6A4D8AC4-8423-4262-9E92-0D577FEF4C13}" dt="2024-10-29T20:26:36.571" v="27" actId="1076"/>
        <pc:sldMkLst>
          <pc:docMk/>
          <pc:sldMk cId="2721633966" sldId="277"/>
        </pc:sldMkLst>
        <pc:graphicFrameChg chg="add mod">
          <ac:chgData name="Michaelsen, Børje" userId="c36523e3-11ed-4011-9a41-1983019c0634" providerId="ADAL" clId="{6A4D8AC4-8423-4262-9E92-0D577FEF4C13}" dt="2024-10-29T20:26:36.571" v="27" actId="1076"/>
          <ac:graphicFrameMkLst>
            <pc:docMk/>
            <pc:sldMk cId="2721633966" sldId="277"/>
            <ac:graphicFrameMk id="5" creationId="{1E871170-F82D-1EDA-BE6F-558892AFB706}"/>
          </ac:graphicFrameMkLst>
        </pc:graphicFrameChg>
        <pc:graphicFrameChg chg="del">
          <ac:chgData name="Michaelsen, Børje" userId="c36523e3-11ed-4011-9a41-1983019c0634" providerId="ADAL" clId="{6A4D8AC4-8423-4262-9E92-0D577FEF4C13}" dt="2024-10-29T20:26:30.820" v="25" actId="478"/>
          <ac:graphicFrameMkLst>
            <pc:docMk/>
            <pc:sldMk cId="2721633966" sldId="277"/>
            <ac:graphicFrameMk id="6" creationId="{1E871170-F82D-1EDA-BE6F-558892AFB706}"/>
          </ac:graphicFrameMkLst>
        </pc:graphicFrameChg>
      </pc:sldChg>
      <pc:sldChg chg="addSp delSp modSp mod">
        <pc:chgData name="Michaelsen, Børje" userId="c36523e3-11ed-4011-9a41-1983019c0634" providerId="ADAL" clId="{6A4D8AC4-8423-4262-9E92-0D577FEF4C13}" dt="2024-10-29T20:25:11.422" v="20" actId="14100"/>
        <pc:sldMkLst>
          <pc:docMk/>
          <pc:sldMk cId="662108869" sldId="279"/>
        </pc:sldMkLst>
        <pc:graphicFrameChg chg="add mod">
          <ac:chgData name="Michaelsen, Børje" userId="c36523e3-11ed-4011-9a41-1983019c0634" providerId="ADAL" clId="{6A4D8AC4-8423-4262-9E92-0D577FEF4C13}" dt="2024-10-29T20:25:11.422" v="20" actId="14100"/>
          <ac:graphicFrameMkLst>
            <pc:docMk/>
            <pc:sldMk cId="662108869" sldId="279"/>
            <ac:graphicFrameMk id="3" creationId="{24E4A504-A222-3225-2904-7772932E33DE}"/>
          </ac:graphicFrameMkLst>
        </pc:graphicFrameChg>
        <pc:graphicFrameChg chg="del">
          <ac:chgData name="Michaelsen, Børje" userId="c36523e3-11ed-4011-9a41-1983019c0634" providerId="ADAL" clId="{6A4D8AC4-8423-4262-9E92-0D577FEF4C13}" dt="2024-10-29T20:25:01.650" v="17" actId="478"/>
          <ac:graphicFrameMkLst>
            <pc:docMk/>
            <pc:sldMk cId="662108869" sldId="279"/>
            <ac:graphicFrameMk id="7" creationId="{24E4A504-A222-3225-2904-7772932E33DE}"/>
          </ac:graphicFrameMkLst>
        </pc:graphicFrameChg>
      </pc:sldChg>
      <pc:sldChg chg="addSp delSp modSp mod modNotesTx">
        <pc:chgData name="Michaelsen, Børje" userId="c36523e3-11ed-4011-9a41-1983019c0634" providerId="ADAL" clId="{6A4D8AC4-8423-4262-9E92-0D577FEF4C13}" dt="2024-11-11T09:06:03.362" v="52" actId="20577"/>
        <pc:sldMkLst>
          <pc:docMk/>
          <pc:sldMk cId="4206418978" sldId="283"/>
        </pc:sldMkLst>
        <pc:spChg chg="mod">
          <ac:chgData name="Michaelsen, Børje" userId="c36523e3-11ed-4011-9a41-1983019c0634" providerId="ADAL" clId="{6A4D8AC4-8423-4262-9E92-0D577FEF4C13}" dt="2024-11-11T09:06:03.362" v="52" actId="20577"/>
          <ac:spMkLst>
            <pc:docMk/>
            <pc:sldMk cId="4206418978" sldId="283"/>
            <ac:spMk id="12" creationId="{00000000-0000-0000-0000-000000000000}"/>
          </ac:spMkLst>
        </pc:spChg>
        <pc:graphicFrameChg chg="del">
          <ac:chgData name="Michaelsen, Børje" userId="c36523e3-11ed-4011-9a41-1983019c0634" providerId="ADAL" clId="{6A4D8AC4-8423-4262-9E92-0D577FEF4C13}" dt="2024-11-11T09:05:04.231" v="31" actId="478"/>
          <ac:graphicFrameMkLst>
            <pc:docMk/>
            <pc:sldMk cId="4206418978" sldId="283"/>
            <ac:graphicFrameMk id="2" creationId="{63A40097-C4A2-14B9-A24B-383F7DBB9E25}"/>
          </ac:graphicFrameMkLst>
        </pc:graphicFrameChg>
        <pc:graphicFrameChg chg="add mod">
          <ac:chgData name="Michaelsen, Børje" userId="c36523e3-11ed-4011-9a41-1983019c0634" providerId="ADAL" clId="{6A4D8AC4-8423-4262-9E92-0D577FEF4C13}" dt="2024-11-11T09:05:21.048" v="34"/>
          <ac:graphicFrameMkLst>
            <pc:docMk/>
            <pc:sldMk cId="4206418978" sldId="283"/>
            <ac:graphicFrameMk id="4" creationId="{95DCBE3D-B153-8797-AED0-2CF12836AB9F}"/>
          </ac:graphicFrameMkLst>
        </pc:graphicFrameChg>
      </pc:sldChg>
      <pc:sldChg chg="addSp delSp modSp mod">
        <pc:chgData name="Michaelsen, Børje" userId="c36523e3-11ed-4011-9a41-1983019c0634" providerId="ADAL" clId="{6A4D8AC4-8423-4262-9E92-0D577FEF4C13}" dt="2024-10-29T20:22:04.563" v="7" actId="14100"/>
        <pc:sldMkLst>
          <pc:docMk/>
          <pc:sldMk cId="3663715429" sldId="292"/>
        </pc:sldMkLst>
        <pc:spChg chg="mod">
          <ac:chgData name="Michaelsen, Børje" userId="c36523e3-11ed-4011-9a41-1983019c0634" providerId="ADAL" clId="{6A4D8AC4-8423-4262-9E92-0D577FEF4C13}" dt="2024-10-29T20:21:32.606" v="2" actId="1076"/>
          <ac:spMkLst>
            <pc:docMk/>
            <pc:sldMk cId="3663715429" sldId="292"/>
            <ac:spMk id="5" creationId="{7937958D-62FE-9603-BA05-2A8AC7B51C8D}"/>
          </ac:spMkLst>
        </pc:spChg>
        <pc:graphicFrameChg chg="add mod">
          <ac:chgData name="Michaelsen, Børje" userId="c36523e3-11ed-4011-9a41-1983019c0634" providerId="ADAL" clId="{6A4D8AC4-8423-4262-9E92-0D577FEF4C13}" dt="2024-10-29T20:21:37.068" v="3" actId="1076"/>
          <ac:graphicFrameMkLst>
            <pc:docMk/>
            <pc:sldMk cId="3663715429" sldId="292"/>
            <ac:graphicFrameMk id="3" creationId="{00000000-0008-0000-0100-000002000000}"/>
          </ac:graphicFrameMkLst>
        </pc:graphicFrameChg>
        <pc:graphicFrameChg chg="add mod">
          <ac:chgData name="Michaelsen, Børje" userId="c36523e3-11ed-4011-9a41-1983019c0634" providerId="ADAL" clId="{6A4D8AC4-8423-4262-9E92-0D577FEF4C13}" dt="2024-10-29T20:22:04.563" v="7" actId="14100"/>
          <ac:graphicFrameMkLst>
            <pc:docMk/>
            <pc:sldMk cId="3663715429" sldId="292"/>
            <ac:graphicFrameMk id="4" creationId="{00000000-0008-0000-0300-000003000000}"/>
          </ac:graphicFrameMkLst>
        </pc:graphicFrameChg>
        <pc:graphicFrameChg chg="del">
          <ac:chgData name="Michaelsen, Børje" userId="c36523e3-11ed-4011-9a41-1983019c0634" providerId="ADAL" clId="{6A4D8AC4-8423-4262-9E92-0D577FEF4C13}" dt="2024-10-29T20:21:26.994" v="0" actId="478"/>
          <ac:graphicFrameMkLst>
            <pc:docMk/>
            <pc:sldMk cId="3663715429" sldId="292"/>
            <ac:graphicFrameMk id="8" creationId="{00000000-0008-0000-0100-000002000000}"/>
          </ac:graphicFrameMkLst>
        </pc:graphicFrameChg>
        <pc:graphicFrameChg chg="del">
          <ac:chgData name="Michaelsen, Børje" userId="c36523e3-11ed-4011-9a41-1983019c0634" providerId="ADAL" clId="{6A4D8AC4-8423-4262-9E92-0D577FEF4C13}" dt="2024-10-29T20:21:56.630" v="4" actId="478"/>
          <ac:graphicFrameMkLst>
            <pc:docMk/>
            <pc:sldMk cId="3663715429" sldId="292"/>
            <ac:graphicFrameMk id="9" creationId="{00000000-0008-0000-0300-000003000000}"/>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embeddings/oleObject8.bin"/><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embeddings/oleObject9.bin"/><Relationship Id="rId2" Type="http://schemas.microsoft.com/office/2011/relationships/chartColorStyle" Target="colors12.xml"/><Relationship Id="rId1" Type="http://schemas.microsoft.com/office/2011/relationships/chartStyle" Target="style12.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1.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2.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3.xlsx"/></Relationships>
</file>

<file path=ppt/charts/_rels/chart1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7.xml"/><Relationship Id="rId1" Type="http://schemas.microsoft.com/office/2011/relationships/chartStyle" Target="style17.xml"/></Relationships>
</file>

<file path=ppt/charts/_rels/chart17.xml.rels><?xml version="1.0" encoding="UTF-8" standalone="yes"?>
<Relationships xmlns="http://schemas.openxmlformats.org/package/2006/relationships"><Relationship Id="rId3" Type="http://schemas.openxmlformats.org/officeDocument/2006/relationships/oleObject" Target="../embeddings/oleObject10.bin"/><Relationship Id="rId2" Type="http://schemas.microsoft.com/office/2011/relationships/chartColorStyle" Target="colors18.xml"/><Relationship Id="rId1" Type="http://schemas.microsoft.com/office/2011/relationships/chartStyle" Target="style18.xml"/></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runnskolepoeng.xlsx" TargetMode="External"/><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jennomf&#248;ring_vgo.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embeddings/oleObject6.bin"/><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embeddings/oleObject7.bin"/></Relationships>
</file>

<file path=ppt/charts/_rels/chartEx1.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https://iktagder.sharepoint.com/teams/Analyseavdelingen/Shared%20Documents/Statistikk/Kommunefakta/Sektorfordelt_sysselsetting_tabell_13472_1347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a:t>Igangsatte boliger - SSB 05940</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lotArea>
      <c:layout/>
      <c:barChart>
        <c:barDir val="col"/>
        <c:grouping val="stacked"/>
        <c:varyColors val="0"/>
        <c:ser>
          <c:idx val="0"/>
          <c:order val="0"/>
          <c:tx>
            <c:strRef>
              <c:f>'[Igangsatt_bolig.xlsx]Bolig pivot'!$R$30</c:f>
              <c:strCache>
                <c:ptCount val="1"/>
                <c:pt idx="0">
                  <c:v>Enebolig</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0:$AF$30</c:f>
              <c:numCache>
                <c:formatCode>General</c:formatCode>
                <c:ptCount val="6"/>
                <c:pt idx="0">
                  <c:v>27</c:v>
                </c:pt>
                <c:pt idx="1">
                  <c:v>17</c:v>
                </c:pt>
                <c:pt idx="2">
                  <c:v>11</c:v>
                </c:pt>
                <c:pt idx="3">
                  <c:v>33</c:v>
                </c:pt>
                <c:pt idx="4">
                  <c:v>26</c:v>
                </c:pt>
                <c:pt idx="5">
                  <c:v>24</c:v>
                </c:pt>
              </c:numCache>
            </c:numRef>
          </c:val>
          <c:extLst>
            <c:ext xmlns:c16="http://schemas.microsoft.com/office/drawing/2014/chart" uri="{C3380CC4-5D6E-409C-BE32-E72D297353CC}">
              <c16:uniqueId val="{00000000-2BB6-4D35-B492-134DD8CEE1D5}"/>
            </c:ext>
          </c:extLst>
        </c:ser>
        <c:ser>
          <c:idx val="1"/>
          <c:order val="1"/>
          <c:tx>
            <c:strRef>
              <c:f>'[Igangsatt_bolig.xlsx]Bolig pivot'!$R$31</c:f>
              <c:strCache>
                <c:ptCount val="1"/>
                <c:pt idx="0">
                  <c:v>Tomannsbolig, rekkehus, småhu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1:$AF$31</c:f>
              <c:numCache>
                <c:formatCode>General</c:formatCode>
                <c:ptCount val="6"/>
                <c:pt idx="0">
                  <c:v>22</c:v>
                </c:pt>
                <c:pt idx="1">
                  <c:v>0</c:v>
                </c:pt>
                <c:pt idx="2">
                  <c:v>0</c:v>
                </c:pt>
                <c:pt idx="3">
                  <c:v>12</c:v>
                </c:pt>
                <c:pt idx="4">
                  <c:v>16</c:v>
                </c:pt>
                <c:pt idx="5">
                  <c:v>9</c:v>
                </c:pt>
              </c:numCache>
            </c:numRef>
          </c:val>
          <c:extLst>
            <c:ext xmlns:c16="http://schemas.microsoft.com/office/drawing/2014/chart" uri="{C3380CC4-5D6E-409C-BE32-E72D297353CC}">
              <c16:uniqueId val="{00000001-2BB6-4D35-B492-134DD8CEE1D5}"/>
            </c:ext>
          </c:extLst>
        </c:ser>
        <c:ser>
          <c:idx val="2"/>
          <c:order val="2"/>
          <c:tx>
            <c:strRef>
              <c:f>'[Igangsatt_bolig.xlsx]Bolig pivot'!$R$32</c:f>
              <c:strCache>
                <c:ptCount val="1"/>
                <c:pt idx="0">
                  <c:v>Leilighetsbygg</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2:$AF$32</c:f>
              <c:numCache>
                <c:formatCode>General</c:formatCode>
                <c:ptCount val="6"/>
                <c:pt idx="0">
                  <c:v>16</c:v>
                </c:pt>
                <c:pt idx="1">
                  <c:v>0</c:v>
                </c:pt>
                <c:pt idx="2">
                  <c:v>10</c:v>
                </c:pt>
                <c:pt idx="3">
                  <c:v>8</c:v>
                </c:pt>
                <c:pt idx="4">
                  <c:v>0</c:v>
                </c:pt>
                <c:pt idx="5">
                  <c:v>0</c:v>
                </c:pt>
              </c:numCache>
            </c:numRef>
          </c:val>
          <c:extLst>
            <c:ext xmlns:c16="http://schemas.microsoft.com/office/drawing/2014/chart" uri="{C3380CC4-5D6E-409C-BE32-E72D297353CC}">
              <c16:uniqueId val="{00000002-2BB6-4D35-B492-134DD8CEE1D5}"/>
            </c:ext>
          </c:extLst>
        </c:ser>
        <c:ser>
          <c:idx val="3"/>
          <c:order val="3"/>
          <c:tx>
            <c:strRef>
              <c:f>'[Igangsatt_bolig.xlsx]Bolig pivot'!$R$33</c:f>
              <c:strCache>
                <c:ptCount val="1"/>
                <c:pt idx="0">
                  <c:v>Institusjon, studenthjem, bofellesskap</c:v>
                </c:pt>
              </c:strCache>
            </c:strRef>
          </c:tx>
          <c:spPr>
            <a:solidFill>
              <a:schemeClr val="accent4"/>
            </a:solidFill>
            <a:ln>
              <a:noFill/>
            </a:ln>
            <a:effectLst/>
          </c:spPr>
          <c:invertIfNegative val="0"/>
          <c:dLbls>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BB6-4D35-B492-134DD8CEE1D5}"/>
                </c:ext>
              </c:extLst>
            </c:dLbl>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BB6-4D35-B492-134DD8CEE1D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3:$AF$33</c:f>
              <c:numCache>
                <c:formatCode>General</c:formatCode>
                <c:ptCount val="6"/>
                <c:pt idx="0">
                  <c:v>1</c:v>
                </c:pt>
                <c:pt idx="1">
                  <c:v>1</c:v>
                </c:pt>
                <c:pt idx="2">
                  <c:v>10</c:v>
                </c:pt>
                <c:pt idx="3">
                  <c:v>7</c:v>
                </c:pt>
                <c:pt idx="4">
                  <c:v>2</c:v>
                </c:pt>
                <c:pt idx="5">
                  <c:v>0</c:v>
                </c:pt>
              </c:numCache>
            </c:numRef>
          </c:val>
          <c:extLst>
            <c:ext xmlns:c16="http://schemas.microsoft.com/office/drawing/2014/chart" uri="{C3380CC4-5D6E-409C-BE32-E72D297353CC}">
              <c16:uniqueId val="{00000005-2BB6-4D35-B492-134DD8CEE1D5}"/>
            </c:ext>
          </c:extLst>
        </c:ser>
        <c:dLbls>
          <c:showLegendKey val="0"/>
          <c:showVal val="0"/>
          <c:showCatName val="0"/>
          <c:showSerName val="0"/>
          <c:showPercent val="0"/>
          <c:showBubbleSize val="0"/>
        </c:dLbls>
        <c:gapWidth val="150"/>
        <c:overlap val="100"/>
        <c:axId val="1119688152"/>
        <c:axId val="1119687496"/>
      </c:barChart>
      <c:catAx>
        <c:axId val="1119688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7496"/>
        <c:crosses val="autoZero"/>
        <c:auto val="1"/>
        <c:lblAlgn val="ctr"/>
        <c:lblOffset val="100"/>
        <c:noMultiLvlLbl val="0"/>
      </c:catAx>
      <c:valAx>
        <c:axId val="1119687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81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legend>
    <c:plotVisOnly val="1"/>
    <c:dispBlanksAs val="gap"/>
    <c:showDLblsOverMax val="0"/>
  </c:chart>
  <c:spPr>
    <a:noFill/>
    <a:ln>
      <a:noFill/>
    </a:ln>
    <a:effectLst/>
  </c:spPr>
  <c:txPr>
    <a:bodyPr/>
    <a:lstStyle/>
    <a:p>
      <a:pPr>
        <a:defRPr>
          <a:solidFill>
            <a:sysClr val="windowText" lastClr="000000"/>
          </a:solidFill>
        </a:defRPr>
      </a:pPr>
      <a:endParaRPr lang="nb-NO"/>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ysselsetting_landbakgrunn.xlsx]Pivot!Pivottabell4</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Andel sysselsatte over tid, landbakgrunn og kjønn (20-66 å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pivotFmt>
      <c:pivotFmt>
        <c:idx val="5"/>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9"/>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3"/>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B$3:$B$4</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B$5:$B$11</c:f>
              <c:numCache>
                <c:formatCode>General</c:formatCode>
                <c:ptCount val="4"/>
                <c:pt idx="0">
                  <c:v>67.5</c:v>
                </c:pt>
                <c:pt idx="1">
                  <c:v>72.400000000000006</c:v>
                </c:pt>
                <c:pt idx="2">
                  <c:v>47.3</c:v>
                </c:pt>
                <c:pt idx="3">
                  <c:v>42.4</c:v>
                </c:pt>
              </c:numCache>
            </c:numRef>
          </c:val>
          <c:extLst>
            <c:ext xmlns:c16="http://schemas.microsoft.com/office/drawing/2014/chart" uri="{C3380CC4-5D6E-409C-BE32-E72D297353CC}">
              <c16:uniqueId val="{00000000-472B-4FA3-89EF-ADBDB7835343}"/>
            </c:ext>
          </c:extLst>
        </c:ser>
        <c:ser>
          <c:idx val="1"/>
          <c:order val="1"/>
          <c:tx>
            <c:strRef>
              <c:f>Pivot!$C$3:$C$4</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C$5:$C$11</c:f>
              <c:numCache>
                <c:formatCode>General</c:formatCode>
                <c:ptCount val="4"/>
                <c:pt idx="0">
                  <c:v>68.900000000000006</c:v>
                </c:pt>
                <c:pt idx="1">
                  <c:v>73.7</c:v>
                </c:pt>
                <c:pt idx="2">
                  <c:v>51.7</c:v>
                </c:pt>
                <c:pt idx="3">
                  <c:v>50</c:v>
                </c:pt>
              </c:numCache>
            </c:numRef>
          </c:val>
          <c:extLst>
            <c:ext xmlns:c16="http://schemas.microsoft.com/office/drawing/2014/chart" uri="{C3380CC4-5D6E-409C-BE32-E72D297353CC}">
              <c16:uniqueId val="{00000001-472B-4FA3-89EF-ADBDB7835343}"/>
            </c:ext>
          </c:extLst>
        </c:ser>
        <c:ser>
          <c:idx val="2"/>
          <c:order val="2"/>
          <c:tx>
            <c:strRef>
              <c:f>Pivot!$D$3:$D$4</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D$5:$D$11</c:f>
              <c:numCache>
                <c:formatCode>General</c:formatCode>
                <c:ptCount val="4"/>
                <c:pt idx="0">
                  <c:v>70.2</c:v>
                </c:pt>
                <c:pt idx="1">
                  <c:v>74.099999999999994</c:v>
                </c:pt>
                <c:pt idx="2">
                  <c:v>45.3</c:v>
                </c:pt>
                <c:pt idx="3">
                  <c:v>57</c:v>
                </c:pt>
              </c:numCache>
            </c:numRef>
          </c:val>
          <c:extLst>
            <c:ext xmlns:c16="http://schemas.microsoft.com/office/drawing/2014/chart" uri="{C3380CC4-5D6E-409C-BE32-E72D297353CC}">
              <c16:uniqueId val="{00000002-472B-4FA3-89EF-ADBDB7835343}"/>
            </c:ext>
          </c:extLst>
        </c:ser>
        <c:ser>
          <c:idx val="3"/>
          <c:order val="3"/>
          <c:tx>
            <c:strRef>
              <c:f>Pivot!$E$3:$E$4</c:f>
              <c:strCache>
                <c:ptCount val="1"/>
                <c:pt idx="0">
                  <c:v>2023</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E$5:$E$11</c:f>
              <c:numCache>
                <c:formatCode>General</c:formatCode>
                <c:ptCount val="4"/>
                <c:pt idx="0">
                  <c:v>69.400000000000006</c:v>
                </c:pt>
                <c:pt idx="1">
                  <c:v>73.599999999999994</c:v>
                </c:pt>
                <c:pt idx="2">
                  <c:v>48.2</c:v>
                </c:pt>
                <c:pt idx="3">
                  <c:v>50.8</c:v>
                </c:pt>
              </c:numCache>
            </c:numRef>
          </c:val>
          <c:extLst>
            <c:ext xmlns:c16="http://schemas.microsoft.com/office/drawing/2014/chart" uri="{C3380CC4-5D6E-409C-BE32-E72D297353CC}">
              <c16:uniqueId val="{00000003-472B-4FA3-89EF-ADBDB7835343}"/>
            </c:ext>
          </c:extLst>
        </c:ser>
        <c:dLbls>
          <c:dLblPos val="outEnd"/>
          <c:showLegendKey val="0"/>
          <c:showVal val="1"/>
          <c:showCatName val="0"/>
          <c:showSerName val="0"/>
          <c:showPercent val="0"/>
          <c:showBubbleSize val="0"/>
        </c:dLbls>
        <c:gapWidth val="219"/>
        <c:overlap val="-27"/>
        <c:axId val="1568375855"/>
        <c:axId val="36535088"/>
      </c:barChart>
      <c:catAx>
        <c:axId val="1568375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36535088"/>
        <c:crosses val="autoZero"/>
        <c:auto val="1"/>
        <c:lblAlgn val="ctr"/>
        <c:lblOffset val="100"/>
        <c:noMultiLvlLbl val="0"/>
      </c:catAx>
      <c:valAx>
        <c:axId val="36535088"/>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83758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Vedvarende__lavinntekt.xlsx]Pivot_2022!Pivottabell3</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b="0" i="0" u="none" strike="noStrike" kern="1200" spc="0" baseline="0" dirty="0">
                <a:solidFill>
                  <a:sysClr val="windowText" lastClr="000000"/>
                </a:solidFill>
                <a:latin typeface="Arial" panose="020B0604020202020204" pitchFamily="34" charset="0"/>
                <a:cs typeface="Arial" panose="020B0604020202020204" pitchFamily="34" charset="0"/>
              </a:rPr>
              <a:t>Andel personer i husholdninger med vedvarende lavinntekt (EU6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layout>
            <c:manualLayout>
              <c:x val="9.365487024990364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4"/>
        <c:dLbl>
          <c:idx val="0"/>
          <c:layout>
            <c:manualLayout>
              <c:x val="9.3654870249903644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5"/>
        <c:dLbl>
          <c:idx val="0"/>
          <c:layout>
            <c:manualLayout>
              <c:x val="1.092640152915542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6"/>
        <c:dLbl>
          <c:idx val="0"/>
          <c:layout>
            <c:manualLayout>
              <c:x val="1.2487316033320485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7"/>
        <c:dLbl>
          <c:idx val="0"/>
          <c:layout>
            <c:manualLayout>
              <c:x val="1.4048230537485489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8"/>
        <c:dLbl>
          <c:idx val="0"/>
          <c:layout>
            <c:manualLayout>
              <c:x val="1.404823053748554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9"/>
        <c:dLbl>
          <c:idx val="0"/>
          <c:layout>
            <c:manualLayout>
              <c:x val="1.8730974049980729E-2"/>
              <c:y val="-2.989745081423486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0"/>
        <c:dLbl>
          <c:idx val="0"/>
          <c:layout>
            <c:manualLayout>
              <c:x val="1.873097404998061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1"/>
        <c:dLbl>
          <c:idx val="0"/>
          <c:layout>
            <c:manualLayout>
              <c:x val="1.404823053748543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2"/>
        <c:dLbl>
          <c:idx val="0"/>
          <c:layout>
            <c:manualLayout>
              <c:x val="1.24873160333204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dLbl>
          <c:idx val="0"/>
          <c:layout>
            <c:manualLayout>
              <c:x val="1.0627798015889308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5"/>
        <c:dLbl>
          <c:idx val="0"/>
          <c:layout>
            <c:manualLayout>
              <c:x val="1.0627798015889308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6"/>
        <c:dLbl>
          <c:idx val="0"/>
          <c:layout>
            <c:manualLayout>
              <c:x val="7.591284297063810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7"/>
        <c:dLbl>
          <c:idx val="0"/>
          <c:layout>
            <c:manualLayout>
              <c:x val="9.10954115647651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8"/>
        <c:dLbl>
          <c:idx val="0"/>
          <c:layout>
            <c:manualLayout>
              <c:x val="1.366431173471491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9"/>
        <c:dLbl>
          <c:idx val="0"/>
          <c:layout>
            <c:manualLayout>
              <c:x val="1.6700825453540385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0"/>
        <c:dLbl>
          <c:idx val="0"/>
          <c:layout>
            <c:manualLayout>
              <c:x val="9.109541156476573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1"/>
        <c:dLbl>
          <c:idx val="0"/>
          <c:layout>
            <c:manualLayout>
              <c:x val="1.3664311734714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2"/>
        <c:dLbl>
          <c:idx val="0"/>
          <c:layout>
            <c:manualLayout>
              <c:x val="1.518256859412762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3"/>
        <c:dLbl>
          <c:idx val="0"/>
          <c:layout>
            <c:manualLayout>
              <c:x val="1.36643117347146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dLbl>
          <c:idx val="0"/>
          <c:layout>
            <c:manualLayout>
              <c:x val="9.3436101600601965E-3"/>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6"/>
        <c:dLbl>
          <c:idx val="0"/>
          <c:layout>
            <c:manualLayout>
              <c:x val="9.3436101600601826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8"/>
        <c:dLbl>
          <c:idx val="0"/>
          <c:layout>
            <c:manualLayout>
              <c:x val="1.40154152400902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9"/>
        <c:dLbl>
          <c:idx val="0"/>
          <c:layout>
            <c:manualLayout>
              <c:x val="1.401541524009031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0"/>
        <c:dLbl>
          <c:idx val="0"/>
          <c:layout>
            <c:manualLayout>
              <c:x val="1.245814688008028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1"/>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2"/>
        <c:dLbl>
          <c:idx val="0"/>
          <c:layout>
            <c:manualLayout>
              <c:x val="1.40154152400902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3"/>
        <c:dLbl>
          <c:idx val="0"/>
          <c:layout>
            <c:manualLayout>
              <c:x val="1.245814688008028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4"/>
        <c:dLbl>
          <c:idx val="0"/>
          <c:layout>
            <c:manualLayout>
              <c:x val="2.024448868013045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dLbl>
          <c:idx val="0"/>
          <c:layout>
            <c:manualLayout>
              <c:x val="1.2650219803794592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8"/>
        <c:dLbl>
          <c:idx val="0"/>
          <c:layout>
            <c:manualLayout>
              <c:x val="9.4876648528459447E-3"/>
              <c:y val="6.523155532830031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9"/>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0"/>
        <c:dLbl>
          <c:idx val="0"/>
          <c:layout>
            <c:manualLayout>
              <c:x val="1.1068942328320269E-2"/>
              <c:y val="3.2615777664149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1"/>
        <c:dLbl>
          <c:idx val="0"/>
          <c:layout>
            <c:manualLayout>
              <c:x val="1.4231497279268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2"/>
        <c:dLbl>
          <c:idx val="0"/>
          <c:layout>
            <c:manualLayout>
              <c:x val="1.7394052230217449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3"/>
        <c:dLbl>
          <c:idx val="0"/>
          <c:layout>
            <c:manualLayout>
              <c:x val="1.423149727926891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4"/>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5"/>
        <c:dLbl>
          <c:idx val="0"/>
          <c:layout>
            <c:manualLayout>
              <c:x val="1.2650219803794592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6"/>
        <c:dLbl>
          <c:idx val="0"/>
          <c:layout>
            <c:manualLayout>
              <c:x val="1.8975329705691775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9"/>
        <c:dLbl>
          <c:idx val="0"/>
          <c:layout>
            <c:manualLayout>
              <c:x val="1.2458146880080253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0"/>
        <c:dLbl>
          <c:idx val="0"/>
          <c:layout>
            <c:manualLayout>
              <c:x val="1.2458146880080224E-2"/>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1"/>
        <c:dLbl>
          <c:idx val="0"/>
          <c:layout>
            <c:manualLayout>
              <c:x val="7.786341800050118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2"/>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3"/>
        <c:dLbl>
          <c:idx val="0"/>
          <c:layout>
            <c:manualLayout>
              <c:x val="1.868722032012031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4"/>
        <c:dLbl>
          <c:idx val="0"/>
          <c:layout>
            <c:manualLayout>
              <c:x val="6.2290734400401405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5"/>
        <c:dLbl>
          <c:idx val="0"/>
          <c:layout>
            <c:manualLayout>
              <c:x val="1.5572683600100352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6"/>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dLbl>
          <c:idx val="0"/>
          <c:layout>
            <c:manualLayout>
              <c:x val="1.393404381921533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dLbl>
          <c:idx val="0"/>
          <c:layout>
            <c:manualLayout>
              <c:x val="7.74113545511961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dLbl>
          <c:idx val="0"/>
          <c:layout>
            <c:manualLayout>
              <c:x val="1.39340438192152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dLbl>
          <c:idx val="0"/>
          <c:layout>
            <c:manualLayout>
              <c:x val="6.192908364095655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dLbl>
          <c:idx val="0"/>
          <c:layout>
            <c:manualLayout>
              <c:x val="1.2385816728191423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dLbl>
          <c:idx val="0"/>
          <c:layout>
            <c:manualLayout>
              <c:x val="1.39340438192152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dLbl>
          <c:idx val="0"/>
          <c:layout>
            <c:manualLayout>
              <c:x val="1.39340438192153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dLbl>
          <c:idx val="0"/>
          <c:layout>
            <c:manualLayout>
              <c:x val="1.083758963716749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dLbl>
          <c:idx val="0"/>
          <c:layout>
            <c:manualLayout>
              <c:x val="1.083758963716749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dLbl>
          <c:idx val="0"/>
          <c:layout>
            <c:manualLayout>
              <c:x val="1.5482270910239279E-2"/>
              <c:y val="-1.6307888832075228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dLbl>
          <c:idx val="0"/>
          <c:layout>
            <c:manualLayout>
              <c:x val="9.3001616177691027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1"/>
        <c:dLbl>
          <c:idx val="0"/>
          <c:layout>
            <c:manualLayout>
              <c:x val="1.3950242426653823E-2"/>
              <c:y val="3.261577766415075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2"/>
        <c:dLbl>
          <c:idx val="0"/>
          <c:layout>
            <c:manualLayout>
              <c:x val="1.08501885540640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3"/>
        <c:dLbl>
          <c:idx val="0"/>
          <c:layout>
            <c:manualLayout>
              <c:x val="1.2400215490358954E-2"/>
              <c:y val="-9.784733299245167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4"/>
        <c:dLbl>
          <c:idx val="0"/>
          <c:layout>
            <c:manualLayout>
              <c:x val="7.7501346814742326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5"/>
        <c:dLbl>
          <c:idx val="0"/>
          <c:layout>
            <c:manualLayout>
              <c:x val="9.3001616177691877E-3"/>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6"/>
        <c:dLbl>
          <c:idx val="0"/>
          <c:layout>
            <c:manualLayout>
              <c:x val="9.300161617769201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dLbl>
          <c:idx val="0"/>
          <c:layout>
            <c:manualLayout>
              <c:x val="7.531253813809126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dLbl>
          <c:idx val="0"/>
          <c:layout>
            <c:manualLayout>
              <c:x val="9.0375045765709421E-3"/>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dLbl>
          <c:idx val="0"/>
          <c:layout>
            <c:manualLayout>
              <c:x val="9.0375045765709698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layout>
            <c:manualLayout>
              <c:x val="1.506250762761822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3"/>
        <c:dLbl>
          <c:idx val="0"/>
          <c:layout>
            <c:manualLayout>
              <c:x val="1.656875839038005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dLbl>
          <c:idx val="0"/>
          <c:layout>
            <c:manualLayout>
              <c:x val="1.054375533933279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dLbl>
          <c:idx val="0"/>
          <c:layout>
            <c:manualLayout>
              <c:x val="1.506250762761817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dLbl>
          <c:idx val="0"/>
          <c:layout>
            <c:manualLayout>
              <c:x val="1.355625686485634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dLbl>
          <c:idx val="0"/>
          <c:layout>
            <c:manualLayout>
              <c:x val="1.0543755339332798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dLbl>
          <c:idx val="0"/>
          <c:layout>
            <c:manualLayout>
              <c:x val="1.3556256864856564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0"/>
        <c:dLbl>
          <c:idx val="0"/>
          <c:layout>
            <c:manualLayout>
              <c:x val="1.1354420113544201E-2"/>
              <c:y val="-6.245119463726182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dLbl>
          <c:idx val="0"/>
          <c:layout>
            <c:manualLayout>
              <c:x val="1.4598540145985401E-2"/>
              <c:y val="-3.122559731863091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dLbl>
          <c:idx val="0"/>
          <c:layout>
            <c:manualLayout>
              <c:x val="9.7323600973236602E-3"/>
              <c:y val="-3.1225597318631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dLbl>
          <c:idx val="0"/>
          <c:layout>
            <c:manualLayout>
              <c:x val="1.1354420113544201E-2"/>
              <c:y val="-2.862313355186370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dLbl>
          <c:idx val="0"/>
          <c:layout>
            <c:manualLayout>
              <c:x val="4.866180048661800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5"/>
        <c:dLbl>
          <c:idx val="0"/>
          <c:layout>
            <c:manualLayout>
              <c:x val="8.110300081103000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6"/>
        <c:dLbl>
          <c:idx val="0"/>
          <c:layout>
            <c:manualLayout>
              <c:x val="1.13544201135442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7"/>
        <c:dLbl>
          <c:idx val="0"/>
          <c:layout>
            <c:manualLayout>
              <c:x val="1.45985401459854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0"/>
        <c:dLbl>
          <c:idx val="0"/>
          <c:layout>
            <c:manualLayout>
              <c:x val="7.9782990266475187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1"/>
        <c:dLbl>
          <c:idx val="0"/>
          <c:layout>
            <c:manualLayout>
              <c:x val="1.276527844263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2"/>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3"/>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4"/>
        <c:dLbl>
          <c:idx val="0"/>
          <c:layout>
            <c:manualLayout>
              <c:x val="1.116961863730652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5"/>
        <c:dLbl>
          <c:idx val="0"/>
          <c:layout>
            <c:manualLayout>
              <c:x val="1.2765278442636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6"/>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7"/>
        <c:dLbl>
          <c:idx val="0"/>
          <c:layout>
            <c:manualLayout>
              <c:x val="1.595659805329491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8"/>
        <c:dLbl>
          <c:idx val="0"/>
          <c:layout>
            <c:manualLayout>
              <c:x val="1.9147917663954045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9"/>
        <c:dLbl>
          <c:idx val="0"/>
          <c:layout>
            <c:manualLayout>
              <c:x val="1.436093824796553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1"/>
        <c:dLbl>
          <c:idx val="0"/>
          <c:layout>
            <c:manualLayout>
              <c:x val="6.4210610803435266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2"/>
        <c:dLbl>
          <c:idx val="0"/>
          <c:layout>
            <c:manualLayout>
              <c:x val="9.631591620515319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3"/>
        <c:dLbl>
          <c:idx val="0"/>
          <c:layout>
            <c:manualLayout>
              <c:x val="9.631591620515231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4"/>
        <c:dLbl>
          <c:idx val="0"/>
          <c:layout>
            <c:manualLayout>
              <c:x val="1.284212216068699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5"/>
        <c:dLbl>
          <c:idx val="0"/>
          <c:layout>
            <c:manualLayout>
              <c:x val="1.6052652700858816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6"/>
        <c:dLbl>
          <c:idx val="0"/>
          <c:layout>
            <c:manualLayout>
              <c:x val="1.1236856890601055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7"/>
        <c:dLbl>
          <c:idx val="0"/>
          <c:layout>
            <c:manualLayout>
              <c:x val="1.444738743077293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8"/>
        <c:dLbl>
          <c:idx val="0"/>
          <c:layout>
            <c:manualLayout>
              <c:x val="1.9263183241030581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9"/>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0"/>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2"/>
        <c:dLbl>
          <c:idx val="0"/>
          <c:layout>
            <c:manualLayout>
              <c:x val="9.551098376313276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3"/>
        <c:dLbl>
          <c:idx val="0"/>
          <c:layout>
            <c:manualLayout>
              <c:x val="1.273479783508425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4"/>
        <c:dLbl>
          <c:idx val="0"/>
          <c:layout>
            <c:manualLayout>
              <c:x val="1.4326647564469915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5"/>
        <c:dLbl>
          <c:idx val="0"/>
          <c:layout>
            <c:manualLayout>
              <c:x val="1.9102196752626553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6"/>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7"/>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8"/>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9"/>
        <c:dLbl>
          <c:idx val="0"/>
          <c:layout>
            <c:manualLayout>
              <c:x val="1.4326647564469856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0"/>
        <c:dLbl>
          <c:idx val="0"/>
          <c:layout>
            <c:manualLayout>
              <c:x val="1.751034702324100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1"/>
        <c:dLbl>
          <c:idx val="0"/>
          <c:layout>
            <c:manualLayout>
              <c:x val="1.114294810569883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3"/>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4"/>
        <c:dLbl>
          <c:idx val="0"/>
          <c:layout>
            <c:manualLayout>
              <c:x val="1.1346138260799093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5"/>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6"/>
        <c:dLbl>
          <c:idx val="0"/>
          <c:layout>
            <c:manualLayout>
              <c:x val="1.2967015155198902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7"/>
        <c:dLbl>
          <c:idx val="0"/>
          <c:layout>
            <c:manualLayout>
              <c:x val="1.1346138260799093E-2"/>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8"/>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9"/>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0"/>
        <c:dLbl>
          <c:idx val="0"/>
          <c:layout>
            <c:manualLayout>
              <c:x val="1.6208768943998704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1"/>
        <c:dLbl>
          <c:idx val="0"/>
          <c:layout>
            <c:manualLayout>
              <c:x val="9.7252613663992224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2"/>
        <c:dLbl>
          <c:idx val="0"/>
          <c:layout>
            <c:manualLayout>
              <c:x val="6.4835075775994816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4"/>
        <c:spPr>
          <a:solidFill>
            <a:schemeClr val="accent3"/>
          </a:solidFill>
          <a:ln>
            <a:noFill/>
          </a:ln>
          <a:effectLst/>
        </c:spPr>
        <c:dLbl>
          <c:idx val="0"/>
          <c:layout>
            <c:manualLayout>
              <c:x val="1.0946907498631636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5"/>
        <c:spPr>
          <a:solidFill>
            <a:schemeClr val="accent3"/>
          </a:solidFill>
          <a:ln>
            <a:noFill/>
          </a:ln>
          <a:effectLst/>
        </c:spPr>
        <c:dLbl>
          <c:idx val="0"/>
          <c:layout>
            <c:manualLayout>
              <c:x val="1.2510751427007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7"/>
        <c:dLbl>
          <c:idx val="0"/>
          <c:layout>
            <c:manualLayout>
              <c:x val="6.547180620345364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8"/>
        <c:dLbl>
          <c:idx val="0"/>
          <c:layout>
            <c:manualLayout>
              <c:x val="4.9103854652590229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9"/>
        <c:dLbl>
          <c:idx val="0"/>
          <c:layout>
            <c:manualLayout>
              <c:x val="3.273590310172682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0"/>
        <c:dLbl>
          <c:idx val="0"/>
          <c:layout>
            <c:manualLayout>
              <c:x val="1.1457566085604387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1"/>
        <c:dLbl>
          <c:idx val="0"/>
          <c:layout>
            <c:manualLayout>
              <c:x val="6.547180620345303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2"/>
        <c:dLbl>
          <c:idx val="0"/>
          <c:layout>
            <c:manualLayout>
              <c:x val="8.183975775431704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3"/>
        <c:dLbl>
          <c:idx val="0"/>
          <c:layout>
            <c:manualLayout>
              <c:x val="1.96415418610359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4"/>
        <c:dLbl>
          <c:idx val="0"/>
          <c:layout>
            <c:manualLayout>
              <c:x val="1.145756608560438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5"/>
        <c:dLbl>
          <c:idx val="0"/>
          <c:layout>
            <c:manualLayout>
              <c:x val="1.6367951550863291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6"/>
        <c:dLbl>
          <c:idx val="0"/>
          <c:layout>
            <c:manualLayout>
              <c:x val="9.8207709305179261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8"/>
        <c:dLbl>
          <c:idx val="0"/>
          <c:layout>
            <c:manualLayout>
              <c:x val="1.2795905310300689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9"/>
        <c:dLbl>
          <c:idx val="0"/>
          <c:layout>
            <c:manualLayout>
              <c:x val="9.596928982725527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0"/>
        <c:dLbl>
          <c:idx val="0"/>
          <c:layout>
            <c:manualLayout>
              <c:x val="7.997440818937880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1"/>
        <c:dLbl>
          <c:idx val="0"/>
          <c:layout>
            <c:manualLayout>
              <c:x val="1.11964171465131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2"/>
        <c:dLbl>
          <c:idx val="0"/>
          <c:layout>
            <c:manualLayout>
              <c:x val="1.1196417146513116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3"/>
        <c:dLbl>
          <c:idx val="0"/>
          <c:layout>
            <c:manualLayout>
              <c:x val="1.9193857965451054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4"/>
        <c:dLbl>
          <c:idx val="0"/>
          <c:layout>
            <c:manualLayout>
              <c:x val="1.919385796545105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5"/>
        <c:dLbl>
          <c:idx val="0"/>
          <c:layout>
            <c:manualLayout>
              <c:x val="1.4395393474088292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6"/>
        <c:dLbl>
          <c:idx val="0"/>
          <c:layout>
            <c:manualLayout>
              <c:x val="1.4395393474088292E-2"/>
              <c:y val="-6.0168457467888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7"/>
        <c:dLbl>
          <c:idx val="0"/>
          <c:layout>
            <c:manualLayout>
              <c:x val="1.599488163787588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9"/>
        <c:spPr>
          <a:solidFill>
            <a:schemeClr val="accent1"/>
          </a:solidFill>
          <a:ln>
            <a:noFill/>
          </a:ln>
          <a:effectLst/>
        </c:spPr>
        <c:dLbl>
          <c:idx val="0"/>
          <c:layout>
            <c:manualLayout>
              <c:x val="9.85707244948250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0"/>
        <c:spPr>
          <a:solidFill>
            <a:schemeClr val="accent1"/>
          </a:solidFill>
          <a:ln>
            <a:noFill/>
          </a:ln>
          <a:effectLst/>
        </c:spPr>
        <c:dLbl>
          <c:idx val="0"/>
          <c:layout>
            <c:manualLayout>
              <c:x val="1.149991785772958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1"/>
        <c:spPr>
          <a:solidFill>
            <a:schemeClr val="accent1"/>
          </a:solidFill>
          <a:ln>
            <a:noFill/>
          </a:ln>
          <a:effectLst/>
        </c:spPr>
        <c:dLbl>
          <c:idx val="0"/>
          <c:layout>
            <c:manualLayout>
              <c:x val="1.478560867422375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2"/>
        <c:spPr>
          <a:solidFill>
            <a:schemeClr val="accent1"/>
          </a:solidFill>
          <a:ln>
            <a:noFill/>
          </a:ln>
          <a:effectLst/>
        </c:spPr>
        <c:dLbl>
          <c:idx val="0"/>
          <c:layout>
            <c:manualLayout>
              <c:x val="1.4785608674223755E-2"/>
              <c:y val="-6.0168457467889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3"/>
        <c:spPr>
          <a:solidFill>
            <a:schemeClr val="accent1"/>
          </a:solidFill>
          <a:ln>
            <a:noFill/>
          </a:ln>
          <a:effectLst/>
        </c:spPr>
        <c:dLbl>
          <c:idx val="0"/>
          <c:layout>
            <c:manualLayout>
              <c:x val="1.47856086742236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4"/>
        <c:spPr>
          <a:solidFill>
            <a:schemeClr val="accent1"/>
          </a:solidFill>
          <a:ln>
            <a:noFill/>
          </a:ln>
          <a:effectLst/>
        </c:spPr>
        <c:dLbl>
          <c:idx val="0"/>
          <c:layout>
            <c:manualLayout>
              <c:x val="1.3142763265976552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5"/>
        <c:spPr>
          <a:solidFill>
            <a:schemeClr val="accent1"/>
          </a:solidFill>
          <a:ln>
            <a:noFill/>
          </a:ln>
          <a:effectLst/>
        </c:spPr>
        <c:dLbl>
          <c:idx val="0"/>
          <c:layout>
            <c:manualLayout>
              <c:x val="9.857072449482503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6"/>
        <c:spPr>
          <a:solidFill>
            <a:schemeClr val="accent1"/>
          </a:solidFill>
          <a:ln>
            <a:noFill/>
          </a:ln>
          <a:effectLst/>
        </c:spPr>
        <c:dLbl>
          <c:idx val="0"/>
          <c:layout>
            <c:manualLayout>
              <c:x val="9.857072449482503E-3"/>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7"/>
        <c:spPr>
          <a:solidFill>
            <a:schemeClr val="accent1"/>
          </a:solidFill>
          <a:ln>
            <a:noFill/>
          </a:ln>
          <a:effectLst/>
        </c:spPr>
        <c:dLbl>
          <c:idx val="0"/>
          <c:layout>
            <c:manualLayout>
              <c:x val="1.3142763265976671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8"/>
        <c:spPr>
          <a:solidFill>
            <a:schemeClr val="accent1"/>
          </a:solidFill>
          <a:ln>
            <a:noFill/>
          </a:ln>
          <a:effectLst/>
        </c:spPr>
        <c:dLbl>
          <c:idx val="0"/>
          <c:layout>
            <c:manualLayout>
              <c:x val="1.31427632659765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0"/>
        <c:spPr>
          <a:solidFill>
            <a:schemeClr val="accent1"/>
          </a:solidFill>
          <a:ln>
            <a:noFill/>
          </a:ln>
          <a:effectLst/>
        </c:spPr>
        <c:dLbl>
          <c:idx val="0"/>
          <c:layout>
            <c:manualLayout>
              <c:x val="6.367398917542184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1"/>
        <c:spPr>
          <a:solidFill>
            <a:schemeClr val="accent1"/>
          </a:solidFill>
          <a:ln>
            <a:noFill/>
          </a:ln>
          <a:effectLst/>
        </c:spPr>
        <c:dLbl>
          <c:idx val="0"/>
          <c:layout>
            <c:manualLayout>
              <c:x val="1.4326647564469885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2"/>
        <c:spPr>
          <a:solidFill>
            <a:schemeClr val="accent1"/>
          </a:solidFill>
          <a:ln>
            <a:noFill/>
          </a:ln>
          <a:effectLst/>
        </c:spPr>
        <c:dLbl>
          <c:idx val="0"/>
          <c:layout>
            <c:manualLayout>
              <c:x val="9.5510983763132176E-3"/>
              <c:y val="6.0168457467888363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3"/>
        <c:spPr>
          <a:solidFill>
            <a:schemeClr val="accent1"/>
          </a:solidFill>
          <a:ln>
            <a:noFill/>
          </a:ln>
          <a:effectLst/>
        </c:spPr>
        <c:dLbl>
          <c:idx val="0"/>
          <c:layout>
            <c:manualLayout>
              <c:x val="9.5510983763132766E-3"/>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4"/>
        <c:spPr>
          <a:solidFill>
            <a:schemeClr val="accent1"/>
          </a:solidFill>
          <a:ln>
            <a:noFill/>
          </a:ln>
          <a:effectLst/>
        </c:spPr>
        <c:dLbl>
          <c:idx val="0"/>
          <c:layout>
            <c:manualLayout>
              <c:x val="1.4326647564469797E-2"/>
              <c:y val="1.2033691493577673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5"/>
        <c:spPr>
          <a:solidFill>
            <a:schemeClr val="accent1"/>
          </a:solidFill>
          <a:ln>
            <a:noFill/>
          </a:ln>
          <a:effectLst/>
        </c:spPr>
        <c:dLbl>
          <c:idx val="0"/>
          <c:layout>
            <c:manualLayout>
              <c:x val="9.5510983763131586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6"/>
        <c:spPr>
          <a:solidFill>
            <a:schemeClr val="accent1"/>
          </a:solidFill>
          <a:ln>
            <a:noFill/>
          </a:ln>
          <a:effectLst/>
        </c:spPr>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9"/>
        <c:dLbl>
          <c:idx val="0"/>
          <c:layout>
            <c:manualLayout>
              <c:x val="1.2554927809165096E-2"/>
              <c:y val="3.008422873394432E-3"/>
            </c:manualLayout>
          </c:layout>
          <c:showLegendKey val="0"/>
          <c:showVal val="1"/>
          <c:showCatName val="0"/>
          <c:showSerName val="0"/>
          <c:showPercent val="0"/>
          <c:showBubbleSize val="0"/>
          <c:extLst>
            <c:ext xmlns:c15="http://schemas.microsoft.com/office/drawing/2012/chart" uri="{CE6537A1-D6FC-4f65-9D91-7224C49458BB}"/>
          </c:extLst>
        </c:dLbl>
      </c:pivotFmt>
      <c:pivotFmt>
        <c:idx val="220"/>
        <c:spPr>
          <a:solidFill>
            <a:schemeClr val="accent1"/>
          </a:solidFill>
          <a:ln>
            <a:noFill/>
          </a:ln>
          <a:effectLst/>
        </c:spPr>
        <c:dLbl>
          <c:idx val="0"/>
          <c:layout>
            <c:manualLayout>
              <c:x val="8.061265618702136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4"/>
        <c:spPr>
          <a:solidFill>
            <a:schemeClr val="accent3"/>
          </a:solidFill>
          <a:ln>
            <a:noFill/>
          </a:ln>
          <a:effectLst/>
        </c:spPr>
        <c:dLbl>
          <c:idx val="0"/>
          <c:layout>
            <c:manualLayout>
              <c:x val="1.0946907498631636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5"/>
        <c:spPr>
          <a:solidFill>
            <a:schemeClr val="accent3"/>
          </a:solidFill>
          <a:ln>
            <a:noFill/>
          </a:ln>
          <a:effectLst/>
        </c:spPr>
        <c:dLbl>
          <c:idx val="0"/>
          <c:layout>
            <c:manualLayout>
              <c:x val="1.2510751427007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9"/>
        <c:spPr>
          <a:solidFill>
            <a:schemeClr val="accent3"/>
          </a:solidFill>
          <a:ln>
            <a:noFill/>
          </a:ln>
          <a:effectLst/>
        </c:spPr>
        <c:dLbl>
          <c:idx val="0"/>
          <c:layout>
            <c:manualLayout>
              <c:x val="1.0946907498631636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0"/>
        <c:spPr>
          <a:solidFill>
            <a:schemeClr val="accent3"/>
          </a:solidFill>
          <a:ln>
            <a:noFill/>
          </a:ln>
          <a:effectLst/>
        </c:spPr>
        <c:dLbl>
          <c:idx val="0"/>
          <c:layout>
            <c:manualLayout>
              <c:x val="1.2510751427007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2022!$B$3:$B$4</c:f>
              <c:strCache>
                <c:ptCount val="1"/>
                <c:pt idx="0">
                  <c:v>1. Norge</c:v>
                </c:pt>
              </c:strCache>
            </c:strRef>
          </c:tx>
          <c:spPr>
            <a:solidFill>
              <a:schemeClr val="accent1"/>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B$5:$B$16</c:f>
              <c:numCache>
                <c:formatCode>0.0\ %</c:formatCode>
                <c:ptCount val="11"/>
                <c:pt idx="0">
                  <c:v>8.1000000000000003E-2</c:v>
                </c:pt>
                <c:pt idx="1">
                  <c:v>8.8000000000000009E-2</c:v>
                </c:pt>
                <c:pt idx="2">
                  <c:v>9.1999999999999998E-2</c:v>
                </c:pt>
                <c:pt idx="3">
                  <c:v>9.5000000000000001E-2</c:v>
                </c:pt>
                <c:pt idx="4">
                  <c:v>9.6000000000000002E-2</c:v>
                </c:pt>
                <c:pt idx="5">
                  <c:v>9.8000000000000004E-2</c:v>
                </c:pt>
                <c:pt idx="6">
                  <c:v>0.1</c:v>
                </c:pt>
                <c:pt idx="7">
                  <c:v>0.10199999999999999</c:v>
                </c:pt>
                <c:pt idx="8">
                  <c:v>0.10199999999999999</c:v>
                </c:pt>
                <c:pt idx="9">
                  <c:v>0.10099999999999999</c:v>
                </c:pt>
                <c:pt idx="10">
                  <c:v>9.8000000000000004E-2</c:v>
                </c:pt>
              </c:numCache>
            </c:numRef>
          </c:val>
          <c:extLst>
            <c:ext xmlns:c16="http://schemas.microsoft.com/office/drawing/2014/chart" uri="{C3380CC4-5D6E-409C-BE32-E72D297353CC}">
              <c16:uniqueId val="{00000000-5074-4084-A631-ADB58BCD1A01}"/>
            </c:ext>
          </c:extLst>
        </c:ser>
        <c:ser>
          <c:idx val="1"/>
          <c:order val="1"/>
          <c:tx>
            <c:strRef>
              <c:f>Pivot_2022!$C$3:$C$4</c:f>
              <c:strCache>
                <c:ptCount val="1"/>
                <c:pt idx="0">
                  <c:v>2. Agder</c:v>
                </c:pt>
              </c:strCache>
            </c:strRef>
          </c:tx>
          <c:spPr>
            <a:solidFill>
              <a:schemeClr val="accent2"/>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C$5:$C$16</c:f>
              <c:numCache>
                <c:formatCode>0.0\ %</c:formatCode>
                <c:ptCount val="11"/>
                <c:pt idx="0">
                  <c:v>8.4000000000000005E-2</c:v>
                </c:pt>
                <c:pt idx="1">
                  <c:v>9.1999999999999998E-2</c:v>
                </c:pt>
                <c:pt idx="2">
                  <c:v>9.6000000000000002E-2</c:v>
                </c:pt>
                <c:pt idx="3">
                  <c:v>0.1</c:v>
                </c:pt>
                <c:pt idx="4">
                  <c:v>0.10300000000000001</c:v>
                </c:pt>
                <c:pt idx="5">
                  <c:v>0.107</c:v>
                </c:pt>
                <c:pt idx="6">
                  <c:v>0.111</c:v>
                </c:pt>
                <c:pt idx="7">
                  <c:v>0.115</c:v>
                </c:pt>
                <c:pt idx="8">
                  <c:v>0.115</c:v>
                </c:pt>
                <c:pt idx="9">
                  <c:v>0.114</c:v>
                </c:pt>
                <c:pt idx="10">
                  <c:v>0.111</c:v>
                </c:pt>
              </c:numCache>
            </c:numRef>
          </c:val>
          <c:extLst>
            <c:ext xmlns:c16="http://schemas.microsoft.com/office/drawing/2014/chart" uri="{C3380CC4-5D6E-409C-BE32-E72D297353CC}">
              <c16:uniqueId val="{00000001-5074-4084-A631-ADB58BCD1A01}"/>
            </c:ext>
          </c:extLst>
        </c:ser>
        <c:ser>
          <c:idx val="2"/>
          <c:order val="2"/>
          <c:tx>
            <c:strRef>
              <c:f>Pivot_2022!$D$3:$D$4</c:f>
              <c:strCache>
                <c:ptCount val="1"/>
                <c:pt idx="0">
                  <c:v>Tvedestrand</c:v>
                </c:pt>
              </c:strCache>
            </c:strRef>
          </c:tx>
          <c:spPr>
            <a:solidFill>
              <a:schemeClr val="accent3"/>
            </a:solidFill>
            <a:ln>
              <a:noFill/>
            </a:ln>
            <a:effectLst/>
          </c:spPr>
          <c:invertIfNegative val="0"/>
          <c:dLbls>
            <c:dLbl>
              <c:idx val="8"/>
              <c:layout>
                <c:manualLayout>
                  <c:x val="1.0946907498631636E-2"/>
                  <c:y val="-3.008422873394459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074-4084-A631-ADB58BCD1A01}"/>
                </c:ext>
              </c:extLst>
            </c:dLbl>
            <c:dLbl>
              <c:idx val="9"/>
              <c:layout>
                <c:manualLayout>
                  <c:x val="1.25107514270074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074-4084-A631-ADB58BCD1A0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D$5:$D$16</c:f>
              <c:numCache>
                <c:formatCode>0.0\ %</c:formatCode>
                <c:ptCount val="11"/>
                <c:pt idx="0">
                  <c:v>0.11</c:v>
                </c:pt>
                <c:pt idx="1">
                  <c:v>0.114</c:v>
                </c:pt>
                <c:pt idx="2">
                  <c:v>0.12</c:v>
                </c:pt>
                <c:pt idx="3">
                  <c:v>0.12300000000000001</c:v>
                </c:pt>
                <c:pt idx="4">
                  <c:v>0.11900000000000001</c:v>
                </c:pt>
                <c:pt idx="5">
                  <c:v>0.12</c:v>
                </c:pt>
                <c:pt idx="6">
                  <c:v>0.11800000000000001</c:v>
                </c:pt>
                <c:pt idx="7">
                  <c:v>0.115</c:v>
                </c:pt>
                <c:pt idx="8">
                  <c:v>0.111</c:v>
                </c:pt>
                <c:pt idx="9">
                  <c:v>0.10800000000000001</c:v>
                </c:pt>
                <c:pt idx="10">
                  <c:v>0.109</c:v>
                </c:pt>
              </c:numCache>
            </c:numRef>
          </c:val>
          <c:extLst>
            <c:ext xmlns:c16="http://schemas.microsoft.com/office/drawing/2014/chart" uri="{C3380CC4-5D6E-409C-BE32-E72D297353CC}">
              <c16:uniqueId val="{00000004-5074-4084-A631-ADB58BCD1A01}"/>
            </c:ext>
          </c:extLst>
        </c:ser>
        <c:dLbls>
          <c:showLegendKey val="0"/>
          <c:showVal val="0"/>
          <c:showCatName val="0"/>
          <c:showSerName val="0"/>
          <c:showPercent val="0"/>
          <c:showBubbleSize val="0"/>
        </c:dLbls>
        <c:gapWidth val="219"/>
        <c:overlap val="-27"/>
        <c:axId val="1470036095"/>
        <c:axId val="1569560879"/>
      </c:barChart>
      <c:catAx>
        <c:axId val="14700360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60879"/>
        <c:crosses val="autoZero"/>
        <c:auto val="1"/>
        <c:lblAlgn val="ctr"/>
        <c:lblOffset val="100"/>
        <c:noMultiLvlLbl val="0"/>
      </c:catAx>
      <c:valAx>
        <c:axId val="156956087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4700360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Pivot 5-åringer!Pivottabell2</c:name>
    <c:fmtId val="178"/>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
        <c:idx val="12"/>
        <c:spPr>
          <a:solidFill>
            <a:schemeClr val="accent1"/>
          </a:solidFill>
          <a:ln>
            <a:noFill/>
          </a:ln>
          <a:effectLst/>
        </c:spPr>
        <c:marker>
          <c:symbol val="none"/>
        </c:marker>
      </c:pivotFmt>
      <c:pivotFmt>
        <c:idx val="13"/>
        <c:spPr>
          <a:solidFill>
            <a:schemeClr val="accent1"/>
          </a:solidFill>
          <a:ln>
            <a:noFill/>
          </a:ln>
          <a:effectLst/>
        </c:spPr>
        <c:marker>
          <c:symbol val="none"/>
        </c:marker>
      </c:pivotFmt>
      <c:pivotFmt>
        <c:idx val="14"/>
        <c:spPr>
          <a:solidFill>
            <a:schemeClr val="accent1"/>
          </a:solidFill>
          <a:ln>
            <a:noFill/>
          </a:ln>
          <a:effectLst/>
        </c:spPr>
        <c:marker>
          <c:symbol val="none"/>
        </c:marker>
      </c:pivotFmt>
      <c:pivotFmt>
        <c:idx val="15"/>
        <c:spPr>
          <a:solidFill>
            <a:schemeClr val="accent1"/>
          </a:solidFill>
          <a:ln>
            <a:noFill/>
          </a:ln>
          <a:effectLst/>
        </c:spPr>
        <c:marker>
          <c:symbol val="none"/>
        </c:marker>
      </c:pivotFmt>
      <c:pivotFmt>
        <c:idx val="16"/>
        <c:spPr>
          <a:solidFill>
            <a:schemeClr val="accent1"/>
          </a:solidFill>
          <a:ln>
            <a:noFill/>
          </a:ln>
          <a:effectLst/>
        </c:spPr>
        <c:marker>
          <c:symbol val="none"/>
        </c:marker>
      </c:pivotFmt>
      <c:pivotFmt>
        <c:idx val="17"/>
        <c:spPr>
          <a:solidFill>
            <a:schemeClr val="accent1"/>
          </a:solidFill>
          <a:ln>
            <a:noFill/>
          </a:ln>
          <a:effectLst/>
        </c:spPr>
        <c:marker>
          <c:symbol val="none"/>
        </c:marker>
      </c:pivotFmt>
      <c:pivotFmt>
        <c:idx val="18"/>
        <c:spPr>
          <a:solidFill>
            <a:schemeClr val="accent1"/>
          </a:solidFill>
          <a:ln>
            <a:noFill/>
          </a:ln>
          <a:effectLst/>
        </c:spPr>
        <c:marker>
          <c:symbol val="none"/>
        </c:marker>
      </c:pivotFmt>
      <c:pivotFmt>
        <c:idx val="19"/>
        <c:spPr>
          <a:solidFill>
            <a:schemeClr val="accent1"/>
          </a:solidFill>
          <a:ln>
            <a:noFill/>
          </a:ln>
          <a:effectLst/>
        </c:spPr>
        <c:marker>
          <c:symbol val="none"/>
        </c:marker>
      </c:pivotFmt>
      <c:pivotFmt>
        <c:idx val="20"/>
        <c:spPr>
          <a:solidFill>
            <a:schemeClr val="accent1"/>
          </a:solidFill>
          <a:ln>
            <a:noFill/>
          </a:ln>
          <a:effectLst/>
        </c:spPr>
        <c:marker>
          <c:symbol val="none"/>
        </c:marker>
      </c:pivotFmt>
      <c:pivotFmt>
        <c:idx val="21"/>
        <c:spPr>
          <a:solidFill>
            <a:schemeClr val="accent1"/>
          </a:solidFill>
          <a:ln w="28575" cap="rnd">
            <a:solidFill>
              <a:schemeClr val="accent1"/>
            </a:solidFill>
            <a:round/>
          </a:ln>
          <a:effectLst/>
        </c:spPr>
        <c:marker>
          <c:symbol val="none"/>
        </c:marker>
      </c:pivotFmt>
      <c:pivotFmt>
        <c:idx val="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5-åringer'!$B$3</c:f>
              <c:strCache>
                <c:ptCount val="1"/>
                <c:pt idx="0">
                  <c:v>Totalt</c:v>
                </c:pt>
              </c:strCache>
            </c:strRef>
          </c:tx>
          <c:spPr>
            <a:ln w="28575" cap="rnd">
              <a:solidFill>
                <a:schemeClr val="accent1"/>
              </a:solidFill>
              <a:round/>
            </a:ln>
            <a:effectLst/>
          </c:spPr>
          <c:marker>
            <c:symbol val="none"/>
          </c:marker>
          <c:cat>
            <c:strRef>
              <c:f>'Pivot 5-åringer'!$A$4:$A$26</c:f>
              <c:strCache>
                <c:ptCount val="22"/>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strCache>
            </c:strRef>
          </c:cat>
          <c:val>
            <c:numRef>
              <c:f>'Pivot 5-åringer'!$B$4:$B$26</c:f>
              <c:numCache>
                <c:formatCode>General</c:formatCode>
                <c:ptCount val="22"/>
                <c:pt idx="0">
                  <c:v>79</c:v>
                </c:pt>
                <c:pt idx="1">
                  <c:v>67</c:v>
                </c:pt>
                <c:pt idx="2">
                  <c:v>60</c:v>
                </c:pt>
                <c:pt idx="3">
                  <c:v>71</c:v>
                </c:pt>
                <c:pt idx="4">
                  <c:v>67</c:v>
                </c:pt>
                <c:pt idx="5">
                  <c:v>63</c:v>
                </c:pt>
                <c:pt idx="6">
                  <c:v>63</c:v>
                </c:pt>
                <c:pt idx="7">
                  <c:v>58</c:v>
                </c:pt>
                <c:pt idx="8">
                  <c:v>72</c:v>
                </c:pt>
                <c:pt idx="9">
                  <c:v>61</c:v>
                </c:pt>
                <c:pt idx="10">
                  <c:v>71</c:v>
                </c:pt>
                <c:pt idx="11">
                  <c:v>74</c:v>
                </c:pt>
                <c:pt idx="12">
                  <c:v>66</c:v>
                </c:pt>
                <c:pt idx="13">
                  <c:v>73</c:v>
                </c:pt>
                <c:pt idx="14">
                  <c:v>78</c:v>
                </c:pt>
                <c:pt idx="15">
                  <c:v>69</c:v>
                </c:pt>
                <c:pt idx="16">
                  <c:v>63</c:v>
                </c:pt>
                <c:pt idx="17">
                  <c:v>49</c:v>
                </c:pt>
                <c:pt idx="18">
                  <c:v>60</c:v>
                </c:pt>
                <c:pt idx="19">
                  <c:v>60</c:v>
                </c:pt>
                <c:pt idx="20">
                  <c:v>57</c:v>
                </c:pt>
                <c:pt idx="21">
                  <c:v>59</c:v>
                </c:pt>
              </c:numCache>
            </c:numRef>
          </c:val>
          <c:smooth val="0"/>
          <c:extLst>
            <c:ext xmlns:c16="http://schemas.microsoft.com/office/drawing/2014/chart" uri="{C3380CC4-5D6E-409C-BE32-E72D297353CC}">
              <c16:uniqueId val="{00000000-8B68-4309-90E2-8A01236FFCA4}"/>
            </c:ext>
          </c:extLst>
        </c:ser>
        <c:dLbls>
          <c:showLegendKey val="0"/>
          <c:showVal val="0"/>
          <c:showCatName val="0"/>
          <c:showSerName val="0"/>
          <c:showPercent val="0"/>
          <c:showBubbleSize val="0"/>
        </c:dLbls>
        <c:smooth val="0"/>
        <c:axId val="659781352"/>
        <c:axId val="659782664"/>
      </c:lineChart>
      <c:catAx>
        <c:axId val="659781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2664"/>
        <c:crosses val="autoZero"/>
        <c:auto val="1"/>
        <c:lblAlgn val="ctr"/>
        <c:lblOffset val="100"/>
        <c:noMultiLvlLbl val="0"/>
      </c:catAx>
      <c:valAx>
        <c:axId val="659782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135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363"/>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a:solidFill>
                  <a:sysClr val="windowText" lastClr="000000"/>
                </a:solidFill>
                <a:latin typeface="Arial" panose="020B0604020202020204" pitchFamily="34" charset="0"/>
                <a:cs typeface="Arial" panose="020B0604020202020204" pitchFamily="34" charset="0"/>
              </a:rPr>
              <a:t>Antall tenner med fylling eller hull -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Tenner med fylling eller hull - 5 åringer</c:v>
                </c:pt>
              </c:strCache>
            </c:strRef>
          </c:tx>
          <c:spPr>
            <a:solidFill>
              <a:schemeClr val="accent1"/>
            </a:solidFill>
            <a:ln>
              <a:noFill/>
            </a:ln>
            <a:effectLst/>
          </c:spPr>
          <c:invertIfNegative val="0"/>
          <c:cat>
            <c:strRef>
              <c:f>'Tannhelse, 5-åringer'!$A$5:$A$26</c:f>
              <c:strCache>
                <c:ptCount val="21"/>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1</c:v>
                </c:pt>
                <c:pt idx="19">
                  <c:v>2022</c:v>
                </c:pt>
                <c:pt idx="20">
                  <c:v>2023</c:v>
                </c:pt>
              </c:strCache>
            </c:strRef>
          </c:cat>
          <c:val>
            <c:numRef>
              <c:f>'Tannhelse, 5-åringer'!$B$5:$B$26</c:f>
              <c:numCache>
                <c:formatCode>0.0</c:formatCode>
                <c:ptCount val="21"/>
                <c:pt idx="0">
                  <c:v>2.4</c:v>
                </c:pt>
                <c:pt idx="1">
                  <c:v>1.1000000000000001</c:v>
                </c:pt>
                <c:pt idx="2">
                  <c:v>0.9</c:v>
                </c:pt>
                <c:pt idx="3">
                  <c:v>0.2</c:v>
                </c:pt>
                <c:pt idx="4">
                  <c:v>1.2</c:v>
                </c:pt>
                <c:pt idx="5">
                  <c:v>0.6</c:v>
                </c:pt>
                <c:pt idx="6">
                  <c:v>0.6</c:v>
                </c:pt>
                <c:pt idx="7">
                  <c:v>1.2</c:v>
                </c:pt>
                <c:pt idx="8">
                  <c:v>0.7</c:v>
                </c:pt>
                <c:pt idx="9">
                  <c:v>0.9</c:v>
                </c:pt>
                <c:pt idx="10">
                  <c:v>0.9</c:v>
                </c:pt>
                <c:pt idx="11">
                  <c:v>1</c:v>
                </c:pt>
                <c:pt idx="12">
                  <c:v>0.6</c:v>
                </c:pt>
                <c:pt idx="13">
                  <c:v>1</c:v>
                </c:pt>
                <c:pt idx="14">
                  <c:v>0.7</c:v>
                </c:pt>
                <c:pt idx="15">
                  <c:v>0.5</c:v>
                </c:pt>
                <c:pt idx="16">
                  <c:v>1.1000000000000001</c:v>
                </c:pt>
                <c:pt idx="17">
                  <c:v>0.9</c:v>
                </c:pt>
                <c:pt idx="18">
                  <c:v>0.3</c:v>
                </c:pt>
                <c:pt idx="19">
                  <c:v>0.5</c:v>
                </c:pt>
                <c:pt idx="20">
                  <c:v>0.7</c:v>
                </c:pt>
              </c:numCache>
            </c:numRef>
          </c:val>
          <c:extLst>
            <c:ext xmlns:c16="http://schemas.microsoft.com/office/drawing/2014/chart" uri="{C3380CC4-5D6E-409C-BE32-E72D297353CC}">
              <c16:uniqueId val="{00000000-848E-420D-A557-B87E036B6BDF}"/>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366"/>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del 5-åringer med feilfrie tenner</a:t>
            </a:r>
          </a:p>
        </c:rich>
      </c:tx>
      <c:layout>
        <c:manualLayout>
          <c:xMode val="edge"/>
          <c:yMode val="edge"/>
          <c:x val="0.28760480175087832"/>
          <c:y val="8.062552455001513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Andel 5-åringer med feilfrie tenner</c:v>
                </c:pt>
              </c:strCache>
            </c:strRef>
          </c:tx>
          <c:spPr>
            <a:solidFill>
              <a:schemeClr val="accent1"/>
            </a:solidFill>
            <a:ln>
              <a:noFill/>
            </a:ln>
            <a:effectLst/>
          </c:spPr>
          <c:invertIfNegative val="0"/>
          <c:cat>
            <c:strRef>
              <c:f>'Tannhelse, 5-åringer'!$A$5:$A$26</c:f>
              <c:strCache>
                <c:ptCount val="21"/>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1</c:v>
                </c:pt>
                <c:pt idx="19">
                  <c:v>2022</c:v>
                </c:pt>
                <c:pt idx="20">
                  <c:v>2023</c:v>
                </c:pt>
              </c:strCache>
            </c:strRef>
          </c:cat>
          <c:val>
            <c:numRef>
              <c:f>'Tannhelse, 5-åringer'!$B$5:$B$26</c:f>
              <c:numCache>
                <c:formatCode>0.0</c:formatCode>
                <c:ptCount val="21"/>
                <c:pt idx="0">
                  <c:v>59.5</c:v>
                </c:pt>
                <c:pt idx="1">
                  <c:v>70.8</c:v>
                </c:pt>
                <c:pt idx="2">
                  <c:v>70.2</c:v>
                </c:pt>
                <c:pt idx="3">
                  <c:v>89.3</c:v>
                </c:pt>
                <c:pt idx="4">
                  <c:v>76.400000000000006</c:v>
                </c:pt>
                <c:pt idx="5">
                  <c:v>80.400000000000006</c:v>
                </c:pt>
                <c:pt idx="6">
                  <c:v>80.900000000000006</c:v>
                </c:pt>
                <c:pt idx="7">
                  <c:v>74.2</c:v>
                </c:pt>
                <c:pt idx="8">
                  <c:v>85.4</c:v>
                </c:pt>
                <c:pt idx="9">
                  <c:v>73.400000000000006</c:v>
                </c:pt>
                <c:pt idx="10">
                  <c:v>78.099999999999994</c:v>
                </c:pt>
                <c:pt idx="11">
                  <c:v>69.8</c:v>
                </c:pt>
                <c:pt idx="12">
                  <c:v>82</c:v>
                </c:pt>
                <c:pt idx="13">
                  <c:v>81</c:v>
                </c:pt>
                <c:pt idx="14">
                  <c:v>83</c:v>
                </c:pt>
                <c:pt idx="15">
                  <c:v>84</c:v>
                </c:pt>
                <c:pt idx="16">
                  <c:v>78</c:v>
                </c:pt>
                <c:pt idx="17">
                  <c:v>79.2</c:v>
                </c:pt>
                <c:pt idx="18">
                  <c:v>89</c:v>
                </c:pt>
                <c:pt idx="19">
                  <c:v>83</c:v>
                </c:pt>
                <c:pt idx="20">
                  <c:v>83</c:v>
                </c:pt>
              </c:numCache>
            </c:numRef>
          </c:val>
          <c:extLst>
            <c:ext xmlns:c16="http://schemas.microsoft.com/office/drawing/2014/chart" uri="{C3380CC4-5D6E-409C-BE32-E72D297353CC}">
              <c16:uniqueId val="{00000000-6DB4-4948-A630-5580798E8ED1}"/>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Referansebaner Agder 2024.xlsx]4. Pivot!Pivottabell4</c:name>
    <c:fmtId val="67"/>
  </c:pivotSource>
  <c:chart>
    <c:title>
      <c:tx>
        <c:strRef>
          <c:f>'4. Pivot'!$B$2</c:f>
          <c:strCache>
            <c:ptCount val="1"/>
            <c:pt idx="0">
              <c:v>Tvedestrand</c:v>
            </c:pt>
          </c:strCache>
        </c:strRef>
      </c:tx>
      <c:overlay val="0"/>
      <c:spPr>
        <a:noFill/>
        <a:ln>
          <a:noFill/>
        </a:ln>
        <a:effectLst/>
      </c:spPr>
      <c:txPr>
        <a:bodyPr rot="0" spcFirstLastPara="1" vertOverflow="ellipsis" vert="horz" wrap="square" anchor="ctr" anchorCtr="1"/>
        <a:lstStyle/>
        <a:p>
          <a:pPr>
            <a:defRPr sz="126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3704411804680916"/>
          <c:y val="0.1467601227132351"/>
          <c:w val="0.82523630550500837"/>
          <c:h val="0.69792258060669199"/>
        </c:manualLayout>
      </c:layout>
      <c:lineChart>
        <c:grouping val="standard"/>
        <c:varyColors val="0"/>
        <c:ser>
          <c:idx val="0"/>
          <c:order val="0"/>
          <c:tx>
            <c:strRef>
              <c:f>'4. Pivot'!$B$4:$B$5</c:f>
              <c:strCache>
                <c:ptCount val="1"/>
                <c:pt idx="0">
                  <c:v>Historisk</c:v>
                </c:pt>
              </c:strCache>
            </c:strRef>
          </c:tx>
          <c:spPr>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0</c:formatCode>
                <c:ptCount val="22"/>
                <c:pt idx="0">
                  <c:v>38055.591516109969</c:v>
                </c:pt>
                <c:pt idx="1">
                  <c:v>37988.779342590584</c:v>
                </c:pt>
                <c:pt idx="2">
                  <c:v>37921.967169071198</c:v>
                </c:pt>
                <c:pt idx="3">
                  <c:v>37589.332305892254</c:v>
                </c:pt>
                <c:pt idx="4">
                  <c:v>37256.697442713295</c:v>
                </c:pt>
                <c:pt idx="5">
                  <c:v>36977.309287671422</c:v>
                </c:pt>
                <c:pt idx="6">
                  <c:v>36697.921132629548</c:v>
                </c:pt>
                <c:pt idx="7">
                  <c:v>35705.048739159349</c:v>
                </c:pt>
                <c:pt idx="8">
                  <c:v>33133.801154274712</c:v>
                </c:pt>
                <c:pt idx="9">
                  <c:v>35017.987294449573</c:v>
                </c:pt>
                <c:pt idx="10">
                  <c:v>34270.124229716326</c:v>
                </c:pt>
                <c:pt idx="11">
                  <c:v>33080.863322901816</c:v>
                </c:pt>
                <c:pt idx="12">
                  <c:v>33781.695518835972</c:v>
                </c:pt>
                <c:pt idx="13">
                  <c:v>33335.255073524873</c:v>
                </c:pt>
              </c:numCache>
            </c:numRef>
          </c:val>
          <c:smooth val="0"/>
          <c:extLst>
            <c:ext xmlns:c16="http://schemas.microsoft.com/office/drawing/2014/chart" uri="{C3380CC4-5D6E-409C-BE32-E72D297353CC}">
              <c16:uniqueId val="{00000000-A9B6-4A40-AA03-7F96D487B86D}"/>
            </c:ext>
          </c:extLst>
        </c:ser>
        <c:ser>
          <c:idx val="1"/>
          <c:order val="1"/>
          <c:tx>
            <c:strRef>
              <c:f>'4. Pivot'!$C$4:$C$5</c:f>
              <c:strCache>
                <c:ptCount val="1"/>
                <c:pt idx="0">
                  <c:v>Referansebane</c:v>
                </c:pt>
              </c:strCache>
            </c:strRef>
          </c:tx>
          <c:spPr>
            <a:ln w="28575" cap="rnd">
              <a:solidFill>
                <a:schemeClr val="accent2">
                  <a:lumMod val="75000"/>
                </a:schemeClr>
              </a:solidFill>
              <a:prstDash val="sysDash"/>
              <a:round/>
            </a:ln>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General</c:formatCode>
                <c:ptCount val="22"/>
                <c:pt idx="13" formatCode="#,##0">
                  <c:v>33335.255073524873</c:v>
                </c:pt>
                <c:pt idx="14" formatCode="#,##0">
                  <c:v>30685.102481687245</c:v>
                </c:pt>
                <c:pt idx="15" formatCode="#,##0">
                  <c:v>29558.320270883589</c:v>
                </c:pt>
                <c:pt idx="16" formatCode="#,##0">
                  <c:v>28335.478804822233</c:v>
                </c:pt>
                <c:pt idx="17" formatCode="#,##0">
                  <c:v>27234.277688157563</c:v>
                </c:pt>
                <c:pt idx="18" formatCode="#,##0">
                  <c:v>26107.495477353907</c:v>
                </c:pt>
                <c:pt idx="19" formatCode="#,##0">
                  <c:v>25189.243463855302</c:v>
                </c:pt>
                <c:pt idx="20" formatCode="#,##0">
                  <c:v>24514.773550167673</c:v>
                </c:pt>
                <c:pt idx="21" formatCode="#,##0">
                  <c:v>23387.991339364013</c:v>
                </c:pt>
              </c:numCache>
            </c:numRef>
          </c:val>
          <c:smooth val="0"/>
          <c:extLst>
            <c:ext xmlns:c16="http://schemas.microsoft.com/office/drawing/2014/chart" uri="{C3380CC4-5D6E-409C-BE32-E72D297353CC}">
              <c16:uniqueId val="{00000001-A9B6-4A40-AA03-7F96D487B86D}"/>
            </c:ext>
          </c:extLst>
        </c:ser>
        <c:dLbls>
          <c:showLegendKey val="0"/>
          <c:showVal val="0"/>
          <c:showCatName val="0"/>
          <c:showSerName val="0"/>
          <c:showPercent val="0"/>
          <c:showBubbleSize val="0"/>
        </c:dLbls>
        <c:smooth val="0"/>
        <c:axId val="2083110303"/>
        <c:axId val="1078387056"/>
      </c:lineChart>
      <c:catAx>
        <c:axId val="2083110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78387056"/>
        <c:crosses val="autoZero"/>
        <c:auto val="1"/>
        <c:lblAlgn val="ctr"/>
        <c:lblOffset val="100"/>
        <c:noMultiLvlLbl val="0"/>
      </c:catAx>
      <c:valAx>
        <c:axId val="1078387056"/>
        <c:scaling>
          <c:orientation val="minMax"/>
        </c:scaling>
        <c:delete val="0"/>
        <c:axPos val="l"/>
        <c:majorGridlines>
          <c:spPr>
            <a:ln w="9525" cap="flat" cmpd="sng" algn="ctr">
              <a:solidFill>
                <a:schemeClr val="tx1">
                  <a:lumMod val="15000"/>
                  <a:lumOff val="85000"/>
                </a:schemeClr>
              </a:solidFill>
              <a:round/>
            </a:ln>
            <a:effectLst/>
          </c:spPr>
        </c:majorGridlines>
        <c:title>
          <c:tx>
            <c:strRef>
              <c:f>'4. Pivot'!$B$1</c:f>
              <c:strCache>
                <c:ptCount val="1"/>
                <c:pt idx="0">
                  <c:v>Inklusive kvotepliktig</c:v>
                </c:pt>
              </c:strCache>
            </c:strRef>
          </c:tx>
          <c:overlay val="0"/>
          <c:spPr>
            <a:noFill/>
            <a:ln>
              <a:noFill/>
            </a:ln>
            <a:effectLst/>
          </c:spPr>
          <c:txPr>
            <a:bodyPr rot="-54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208311030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nb-NO"/>
    </a:p>
  </c:txPr>
  <c:externalData r:id="rId4">
    <c:autoUpdate val="0"/>
  </c:externalData>
  <c:extLst>
    <c:ext xmlns:c14="http://schemas.microsoft.com/office/drawing/2007/8/2/chart" uri="{781A3756-C4B2-4CAC-9D66-4F8BD8637D16}">
      <c14:pivotOptions>
        <c14:dropZoneFilter val="1"/>
        <c14:dropZoneCategories val="1"/>
        <c14:dropZoneSeries val="1"/>
      </c14:pivotOptions>
    </c:ext>
    <c:ext xmlns:c16="http://schemas.microsoft.com/office/drawing/2014/chart" uri="{E28EC0CA-F0BB-4C9C-879D-F8772B89E7AC}">
      <c16:pivotOptions16>
        <c16:showExpandCollapseFieldButtons val="1"/>
      </c16:pivotOptions16>
    </c:ext>
  </c:extLst>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2"/>
          <c:order val="0"/>
          <c:tx>
            <c:strRef>
              <c:f>'Grafer til notat'!$J$71</c:f>
              <c:strCache>
                <c:ptCount val="1"/>
                <c:pt idx="0">
                  <c:v>Elektristetforbruk</c:v>
                </c:pt>
              </c:strCache>
            </c:strRef>
          </c:tx>
          <c:spPr>
            <a:solidFill>
              <a:schemeClr val="accent3"/>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B89D-4723-A153-CB3E7C2C24B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J$72:$J$77</c:f>
              <c:numCache>
                <c:formatCode>###0\ %_ ;_*\-###0\ %_ ;_*"-"</c:formatCode>
                <c:ptCount val="6"/>
                <c:pt idx="0">
                  <c:v>3.0637530087821996E-2</c:v>
                </c:pt>
                <c:pt idx="1">
                  <c:v>0</c:v>
                </c:pt>
                <c:pt idx="2" formatCode="###0.000\ %_ ;_*\-###0.000\ %_ ;_*&quot;-&quot;">
                  <c:v>0</c:v>
                </c:pt>
                <c:pt idx="3">
                  <c:v>1</c:v>
                </c:pt>
                <c:pt idx="4">
                  <c:v>0.91701605844637812</c:v>
                </c:pt>
                <c:pt idx="5">
                  <c:v>0.41244053079494408</c:v>
                </c:pt>
              </c:numCache>
            </c:numRef>
          </c:val>
          <c:extLst>
            <c:ext xmlns:c16="http://schemas.microsoft.com/office/drawing/2014/chart" uri="{C3380CC4-5D6E-409C-BE32-E72D297353CC}">
              <c16:uniqueId val="{00000001-B89D-4723-A153-CB3E7C2C24B0}"/>
            </c:ext>
          </c:extLst>
        </c:ser>
        <c:ser>
          <c:idx val="1"/>
          <c:order val="1"/>
          <c:tx>
            <c:strRef>
              <c:f>'Grafer til notat'!$I$71</c:f>
              <c:strCache>
                <c:ptCount val="1"/>
                <c:pt idx="0">
                  <c:v>Bio- og annet energiforbruk</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2-B89D-4723-A153-CB3E7C2C24B0}"/>
                </c:ext>
              </c:extLst>
            </c:dLbl>
            <c:dLbl>
              <c:idx val="2"/>
              <c:delete val="1"/>
              <c:extLst>
                <c:ext xmlns:c15="http://schemas.microsoft.com/office/drawing/2012/chart" uri="{CE6537A1-D6FC-4f65-9D91-7224C49458BB}"/>
                <c:ext xmlns:c16="http://schemas.microsoft.com/office/drawing/2014/chart" uri="{C3380CC4-5D6E-409C-BE32-E72D297353CC}">
                  <c16:uniqueId val="{00000003-B89D-4723-A153-CB3E7C2C24B0}"/>
                </c:ext>
              </c:extLst>
            </c:dLbl>
            <c:dLbl>
              <c:idx val="3"/>
              <c:delete val="1"/>
              <c:extLst>
                <c:ext xmlns:c15="http://schemas.microsoft.com/office/drawing/2012/chart" uri="{CE6537A1-D6FC-4f65-9D91-7224C49458BB}"/>
                <c:ext xmlns:c16="http://schemas.microsoft.com/office/drawing/2014/chart" uri="{C3380CC4-5D6E-409C-BE32-E72D297353CC}">
                  <c16:uniqueId val="{00000004-B89D-4723-A153-CB3E7C2C24B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I$72:$I$77</c:f>
              <c:numCache>
                <c:formatCode>###0\ %_ ;_*\-###0\ %_ ;_*"-"</c:formatCode>
                <c:ptCount val="6"/>
                <c:pt idx="0">
                  <c:v>0.13001349395010586</c:v>
                </c:pt>
                <c:pt idx="1">
                  <c:v>0</c:v>
                </c:pt>
                <c:pt idx="2">
                  <c:v>0</c:v>
                </c:pt>
                <c:pt idx="3">
                  <c:v>0</c:v>
                </c:pt>
                <c:pt idx="4">
                  <c:v>7.9834693566859932E-2</c:v>
                </c:pt>
                <c:pt idx="5">
                  <c:v>9.2760796591480038E-2</c:v>
                </c:pt>
              </c:numCache>
            </c:numRef>
          </c:val>
          <c:extLst>
            <c:ext xmlns:c16="http://schemas.microsoft.com/office/drawing/2014/chart" uri="{C3380CC4-5D6E-409C-BE32-E72D297353CC}">
              <c16:uniqueId val="{00000005-B89D-4723-A153-CB3E7C2C24B0}"/>
            </c:ext>
          </c:extLst>
        </c:ser>
        <c:ser>
          <c:idx val="0"/>
          <c:order val="2"/>
          <c:tx>
            <c:strRef>
              <c:f>'Grafer til notat'!$H$71</c:f>
              <c:strCache>
                <c:ptCount val="1"/>
                <c:pt idx="0">
                  <c:v>Fossilt energiforbruk</c:v>
                </c:pt>
              </c:strCache>
            </c:strRef>
          </c:tx>
          <c:spPr>
            <a:solidFill>
              <a:schemeClr val="accent1"/>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8-B89D-4723-A153-CB3E7C2C24B0}"/>
                </c:ext>
              </c:extLst>
            </c:dLbl>
            <c:dLbl>
              <c:idx val="4"/>
              <c:delete val="1"/>
              <c:extLst>
                <c:ext xmlns:c15="http://schemas.microsoft.com/office/drawing/2012/chart" uri="{CE6537A1-D6FC-4f65-9D91-7224C49458BB}"/>
                <c:ext xmlns:c16="http://schemas.microsoft.com/office/drawing/2014/chart" uri="{C3380CC4-5D6E-409C-BE32-E72D297353CC}">
                  <c16:uniqueId val="{00000007-B89D-4723-A153-CB3E7C2C24B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H$72:$H$77</c:f>
              <c:numCache>
                <c:formatCode>###0\ %_ ;_*\-###0\ %_ ;_*"-"</c:formatCode>
                <c:ptCount val="6"/>
                <c:pt idx="0">
                  <c:v>0.83934897596207214</c:v>
                </c:pt>
                <c:pt idx="1">
                  <c:v>1</c:v>
                </c:pt>
                <c:pt idx="2">
                  <c:v>1</c:v>
                </c:pt>
                <c:pt idx="3">
                  <c:v>0</c:v>
                </c:pt>
                <c:pt idx="4">
                  <c:v>3.1492479867620366E-3</c:v>
                </c:pt>
                <c:pt idx="5">
                  <c:v>0.49479867261357574</c:v>
                </c:pt>
              </c:numCache>
            </c:numRef>
          </c:val>
          <c:extLst>
            <c:ext xmlns:c16="http://schemas.microsoft.com/office/drawing/2014/chart" uri="{C3380CC4-5D6E-409C-BE32-E72D297353CC}">
              <c16:uniqueId val="{00000006-B89D-4723-A153-CB3E7C2C24B0}"/>
            </c:ext>
          </c:extLst>
        </c:ser>
        <c:dLbls>
          <c:showLegendKey val="0"/>
          <c:showVal val="0"/>
          <c:showCatName val="0"/>
          <c:showSerName val="0"/>
          <c:showPercent val="0"/>
          <c:showBubbleSize val="0"/>
        </c:dLbls>
        <c:gapWidth val="150"/>
        <c:overlap val="100"/>
        <c:axId val="830235296"/>
        <c:axId val="830236280"/>
      </c:barChart>
      <c:catAx>
        <c:axId val="830235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6280"/>
        <c:crosses val="autoZero"/>
        <c:auto val="1"/>
        <c:lblAlgn val="ctr"/>
        <c:lblOffset val="100"/>
        <c:noMultiLvlLbl val="0"/>
      </c:catAx>
      <c:valAx>
        <c:axId val="8302362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5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nb-NO"/>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Vernet areal innenfor hver kommune i</a:t>
            </a:r>
            <a:r>
              <a:rPr lang="nb-NO" baseline="0">
                <a:solidFill>
                  <a:sysClr val="windowText" lastClr="000000"/>
                </a:solidFill>
                <a:latin typeface="Arial" panose="020B0604020202020204" pitchFamily="34" charset="0"/>
                <a:cs typeface="Arial" panose="020B0604020202020204" pitchFamily="34" charset="0"/>
              </a:rPr>
              <a:t> Agder</a:t>
            </a:r>
            <a:endParaRPr lang="nb-NO">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lotArea>
      <c:layout/>
      <c:barChart>
        <c:barDir val="col"/>
        <c:grouping val="clustered"/>
        <c:varyColors val="0"/>
        <c:ser>
          <c:idx val="0"/>
          <c:order val="0"/>
          <c:tx>
            <c:strRef>
              <c:f>'[Naturvernområde_Agder__Union_TableToExcel.xlsx]Andel vernet'!$C$1</c:f>
              <c:strCache>
                <c:ptCount val="1"/>
                <c:pt idx="0">
                  <c:v>Km2 vernet</c:v>
                </c:pt>
              </c:strCache>
            </c:strRef>
          </c:tx>
          <c:spPr>
            <a:solidFill>
              <a:schemeClr val="accent1"/>
            </a:solidFill>
            <a:ln>
              <a:noFill/>
            </a:ln>
            <a:effectLst/>
          </c:spPr>
          <c:invertIfNegative val="0"/>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C$2:$C$26</c:f>
              <c:numCache>
                <c:formatCode>0.0</c:formatCode>
                <c:ptCount val="25"/>
                <c:pt idx="0">
                  <c:v>919.5690845560199</c:v>
                </c:pt>
                <c:pt idx="1">
                  <c:v>477.94841445437692</c:v>
                </c:pt>
                <c:pt idx="2">
                  <c:v>485.89107713806311</c:v>
                </c:pt>
                <c:pt idx="3">
                  <c:v>436.13670881830097</c:v>
                </c:pt>
                <c:pt idx="4">
                  <c:v>230.37868117958166</c:v>
                </c:pt>
                <c:pt idx="5">
                  <c:v>333.84202708142891</c:v>
                </c:pt>
                <c:pt idx="6">
                  <c:v>85.808233598904792</c:v>
                </c:pt>
                <c:pt idx="7">
                  <c:v>159.56926712015226</c:v>
                </c:pt>
                <c:pt idx="8">
                  <c:v>77.745652106972145</c:v>
                </c:pt>
                <c:pt idx="9">
                  <c:v>98.229380964005358</c:v>
                </c:pt>
                <c:pt idx="10">
                  <c:v>24.260439365689571</c:v>
                </c:pt>
                <c:pt idx="11">
                  <c:v>61.906368894018172</c:v>
                </c:pt>
                <c:pt idx="12">
                  <c:v>109.03999582302218</c:v>
                </c:pt>
                <c:pt idx="13">
                  <c:v>64.729580713639251</c:v>
                </c:pt>
                <c:pt idx="14">
                  <c:v>35.800498064720401</c:v>
                </c:pt>
                <c:pt idx="15">
                  <c:v>29.17209462924707</c:v>
                </c:pt>
                <c:pt idx="16">
                  <c:v>18.906217619987885</c:v>
                </c:pt>
                <c:pt idx="17">
                  <c:v>31.315826073951683</c:v>
                </c:pt>
                <c:pt idx="18">
                  <c:v>6.6984502723922033</c:v>
                </c:pt>
                <c:pt idx="19">
                  <c:v>37.595899087122255</c:v>
                </c:pt>
                <c:pt idx="20">
                  <c:v>11.310592244903175</c:v>
                </c:pt>
                <c:pt idx="21">
                  <c:v>3.4499219955371081</c:v>
                </c:pt>
                <c:pt idx="22">
                  <c:v>1.4601782761635393</c:v>
                </c:pt>
                <c:pt idx="23">
                  <c:v>1.9380989077648803</c:v>
                </c:pt>
                <c:pt idx="24">
                  <c:v>4.7233737298992535</c:v>
                </c:pt>
              </c:numCache>
            </c:numRef>
          </c:val>
          <c:extLst>
            <c:ext xmlns:c16="http://schemas.microsoft.com/office/drawing/2014/chart" uri="{C3380CC4-5D6E-409C-BE32-E72D297353CC}">
              <c16:uniqueId val="{00000000-8D29-4CE1-B014-F21E0AE1FBDB}"/>
            </c:ext>
          </c:extLst>
        </c:ser>
        <c:dLbls>
          <c:showLegendKey val="0"/>
          <c:showVal val="0"/>
          <c:showCatName val="0"/>
          <c:showSerName val="0"/>
          <c:showPercent val="0"/>
          <c:showBubbleSize val="0"/>
        </c:dLbls>
        <c:gapWidth val="219"/>
        <c:overlap val="-27"/>
        <c:axId val="1119051039"/>
        <c:axId val="1125916863"/>
      </c:barChart>
      <c:lineChart>
        <c:grouping val="standard"/>
        <c:varyColors val="0"/>
        <c:ser>
          <c:idx val="1"/>
          <c:order val="1"/>
          <c:tx>
            <c:strRef>
              <c:f>'[Naturvernområde_Agder__Union_TableToExcel.xlsx]Andel vernet'!$D$1</c:f>
              <c:strCache>
                <c:ptCount val="1"/>
                <c:pt idx="0">
                  <c:v>% av areal som er vernet</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D$2:$D$26</c:f>
              <c:numCache>
                <c:formatCode>0.0\ %</c:formatCode>
                <c:ptCount val="25"/>
                <c:pt idx="0">
                  <c:v>0.62430245109192206</c:v>
                </c:pt>
                <c:pt idx="1">
                  <c:v>0.51901194465730061</c:v>
                </c:pt>
                <c:pt idx="2">
                  <c:v>0.38257653074043863</c:v>
                </c:pt>
                <c:pt idx="3">
                  <c:v>0.27931026689395666</c:v>
                </c:pt>
                <c:pt idx="4">
                  <c:v>0.25855585892072613</c:v>
                </c:pt>
                <c:pt idx="5">
                  <c:v>0.25359187195464844</c:v>
                </c:pt>
                <c:pt idx="6">
                  <c:v>0.18521335632758687</c:v>
                </c:pt>
                <c:pt idx="7">
                  <c:v>0.14073732476998899</c:v>
                </c:pt>
                <c:pt idx="8">
                  <c:v>0.12723550445993145</c:v>
                </c:pt>
                <c:pt idx="9">
                  <c:v>0.10062873295339467</c:v>
                </c:pt>
                <c:pt idx="10">
                  <c:v>7.514944087639483E-2</c:v>
                </c:pt>
                <c:pt idx="11">
                  <c:v>7.1632022278859897E-2</c:v>
                </c:pt>
                <c:pt idx="12">
                  <c:v>7.0471478078583755E-2</c:v>
                </c:pt>
                <c:pt idx="13">
                  <c:v>6.8551105473697013E-2</c:v>
                </c:pt>
                <c:pt idx="14">
                  <c:v>5.5389384638950594E-2</c:v>
                </c:pt>
                <c:pt idx="15">
                  <c:v>4.9515476977679551E-2</c:v>
                </c:pt>
                <c:pt idx="16">
                  <c:v>2.9572572405010326E-2</c:v>
                </c:pt>
                <c:pt idx="17">
                  <c:v>2.4868768210833506E-2</c:v>
                </c:pt>
                <c:pt idx="18">
                  <c:v>1.7361104691874556E-2</c:v>
                </c:pt>
                <c:pt idx="19">
                  <c:v>1.6334066025200603E-2</c:v>
                </c:pt>
                <c:pt idx="20">
                  <c:v>1.3256584003360971E-2</c:v>
                </c:pt>
                <c:pt idx="21">
                  <c:v>5.88907339970256E-3</c:v>
                </c:pt>
                <c:pt idx="22">
                  <c:v>5.5623967628639463E-3</c:v>
                </c:pt>
                <c:pt idx="23">
                  <c:v>5.4367573752398136E-3</c:v>
                </c:pt>
                <c:pt idx="24">
                  <c:v>5.35539932357172E-3</c:v>
                </c:pt>
              </c:numCache>
            </c:numRef>
          </c:val>
          <c:smooth val="0"/>
          <c:extLst>
            <c:ext xmlns:c16="http://schemas.microsoft.com/office/drawing/2014/chart" uri="{C3380CC4-5D6E-409C-BE32-E72D297353CC}">
              <c16:uniqueId val="{00000001-8D29-4CE1-B014-F21E0AE1FBDB}"/>
            </c:ext>
          </c:extLst>
        </c:ser>
        <c:dLbls>
          <c:showLegendKey val="0"/>
          <c:showVal val="0"/>
          <c:showCatName val="0"/>
          <c:showSerName val="0"/>
          <c:showPercent val="0"/>
          <c:showBubbleSize val="0"/>
        </c:dLbls>
        <c:marker val="1"/>
        <c:smooth val="0"/>
        <c:axId val="1119049183"/>
        <c:axId val="1125921183"/>
      </c:lineChart>
      <c:catAx>
        <c:axId val="1119051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354000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25916863"/>
        <c:crosses val="autoZero"/>
        <c:auto val="1"/>
        <c:lblAlgn val="ctr"/>
        <c:lblOffset val="100"/>
        <c:noMultiLvlLbl val="0"/>
      </c:catAx>
      <c:valAx>
        <c:axId val="11259168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51039"/>
        <c:crosses val="autoZero"/>
        <c:crossBetween val="between"/>
      </c:valAx>
      <c:valAx>
        <c:axId val="1125921183"/>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49183"/>
        <c:crosses val="max"/>
        <c:crossBetween val="between"/>
      </c:valAx>
      <c:catAx>
        <c:axId val="1119049183"/>
        <c:scaling>
          <c:orientation val="minMax"/>
        </c:scaling>
        <c:delete val="1"/>
        <c:axPos val="b"/>
        <c:numFmt formatCode="General" sourceLinked="1"/>
        <c:majorTickMark val="none"/>
        <c:minorTickMark val="none"/>
        <c:tickLblPos val="nextTo"/>
        <c:crossAx val="112592118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Igangsatt_bolig.xlsx]Bygningsmassen!Pivottabell3</c:name>
    <c:fmtId val="-1"/>
  </c:pivotSource>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sz="1400">
                <a:solidFill>
                  <a:sysClr val="windowText" lastClr="000000"/>
                </a:solidFill>
              </a:rPr>
              <a:t>Boligmassen per 2024 (andel i prosent) </a:t>
            </a:r>
            <a:r>
              <a:rPr lang="nb-NO">
                <a:solidFill>
                  <a:sysClr val="windowText" lastClr="000000"/>
                </a:solidFill>
              </a:rPr>
              <a:t>- </a:t>
            </a:r>
            <a:r>
              <a:rPr lang="nb-NO" sz="1100">
                <a:solidFill>
                  <a:sysClr val="windowText" lastClr="000000"/>
                </a:solidFill>
              </a:rPr>
              <a:t>SSB 12941</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ygningsmassen!$L$4:$L$5</c:f>
              <c:strCache>
                <c:ptCount val="1"/>
                <c:pt idx="0">
                  <c:v>Tvedestran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L$6:$L$11</c:f>
              <c:numCache>
                <c:formatCode>General</c:formatCode>
                <c:ptCount val="6"/>
                <c:pt idx="0">
                  <c:v>6</c:v>
                </c:pt>
                <c:pt idx="1">
                  <c:v>5</c:v>
                </c:pt>
                <c:pt idx="2">
                  <c:v>2</c:v>
                </c:pt>
                <c:pt idx="3">
                  <c:v>78</c:v>
                </c:pt>
                <c:pt idx="4">
                  <c:v>5</c:v>
                </c:pt>
                <c:pt idx="5">
                  <c:v>4</c:v>
                </c:pt>
              </c:numCache>
            </c:numRef>
          </c:val>
          <c:extLst>
            <c:ext xmlns:c16="http://schemas.microsoft.com/office/drawing/2014/chart" uri="{C3380CC4-5D6E-409C-BE32-E72D297353CC}">
              <c16:uniqueId val="{00000000-4BA3-4D7C-AD7F-C36D465BD1DE}"/>
            </c:ext>
          </c:extLst>
        </c:ser>
        <c:ser>
          <c:idx val="1"/>
          <c:order val="1"/>
          <c:tx>
            <c:strRef>
              <c:f>Bygningsmassen!$M$4:$M$5</c:f>
              <c:strCache>
                <c:ptCount val="1"/>
                <c:pt idx="0">
                  <c:v>Agd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M$6:$M$11</c:f>
              <c:numCache>
                <c:formatCode>General</c:formatCode>
                <c:ptCount val="6"/>
                <c:pt idx="0">
                  <c:v>4</c:v>
                </c:pt>
                <c:pt idx="1">
                  <c:v>15</c:v>
                </c:pt>
                <c:pt idx="2">
                  <c:v>2</c:v>
                </c:pt>
                <c:pt idx="3">
                  <c:v>59</c:v>
                </c:pt>
                <c:pt idx="4">
                  <c:v>12</c:v>
                </c:pt>
                <c:pt idx="5">
                  <c:v>8</c:v>
                </c:pt>
              </c:numCache>
            </c:numRef>
          </c:val>
          <c:extLst>
            <c:ext xmlns:c16="http://schemas.microsoft.com/office/drawing/2014/chart" uri="{C3380CC4-5D6E-409C-BE32-E72D297353CC}">
              <c16:uniqueId val="{00000001-4BA3-4D7C-AD7F-C36D465BD1DE}"/>
            </c:ext>
          </c:extLst>
        </c:ser>
        <c:dLbls>
          <c:showLegendKey val="0"/>
          <c:showVal val="0"/>
          <c:showCatName val="0"/>
          <c:showSerName val="0"/>
          <c:showPercent val="0"/>
          <c:showBubbleSize val="0"/>
        </c:dLbls>
        <c:gapWidth val="219"/>
        <c:overlap val="-27"/>
        <c:axId val="1310628344"/>
        <c:axId val="1310629328"/>
      </c:barChart>
      <c:catAx>
        <c:axId val="1310628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9328"/>
        <c:crosses val="autoZero"/>
        <c:auto val="1"/>
        <c:lblAlgn val="ctr"/>
        <c:lblOffset val="100"/>
        <c:noMultiLvlLbl val="0"/>
      </c:catAx>
      <c:valAx>
        <c:axId val="131062932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83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stolpediagram!Pivottabell1</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Sysselsatte per sektor, 4. kvartal</a:t>
            </a:r>
            <a:r>
              <a:rPr lang="nb-NO" baseline="0">
                <a:solidFill>
                  <a:sysClr val="windowText" lastClr="000000"/>
                </a:solidFill>
                <a:latin typeface="Arial" panose="020B0604020202020204" pitchFamily="34" charset="0"/>
                <a:cs typeface="Arial" panose="020B0604020202020204" pitchFamily="34" charset="0"/>
              </a:rPr>
              <a:t> (SSB 13472)</a:t>
            </a:r>
            <a:r>
              <a:rPr lang="nb-NO">
                <a:solidFill>
                  <a:sysClr val="windowText" lastClr="000000"/>
                </a:solidFill>
                <a:latin typeface="Arial" panose="020B0604020202020204" pitchFamily="34" charset="0"/>
                <a:cs typeface="Arial" panose="020B0604020202020204" pitchFamily="34" charset="0"/>
              </a:rPr>
              <a: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tolpediagram!$B$3:$B$4</c:f>
              <c:strCache>
                <c:ptCount val="1"/>
                <c:pt idx="0">
                  <c:v>Fylkeskommunal forvaltning</c:v>
                </c:pt>
              </c:strCache>
            </c:strRef>
          </c:tx>
          <c:spPr>
            <a:solidFill>
              <a:schemeClr val="accent1"/>
            </a:solidFill>
            <a:ln>
              <a:noFill/>
            </a:ln>
            <a:effectLst/>
          </c:spPr>
          <c:invertIfNegative val="0"/>
          <c:cat>
            <c:strRef>
              <c:f>stolpediagram!$A$5:$A$11</c:f>
              <c:strCache>
                <c:ptCount val="6"/>
                <c:pt idx="0">
                  <c:v>2018</c:v>
                </c:pt>
                <c:pt idx="1">
                  <c:v>2019</c:v>
                </c:pt>
                <c:pt idx="2">
                  <c:v>2020</c:v>
                </c:pt>
                <c:pt idx="3">
                  <c:v>2021</c:v>
                </c:pt>
                <c:pt idx="4">
                  <c:v>2022</c:v>
                </c:pt>
                <c:pt idx="5">
                  <c:v>2023</c:v>
                </c:pt>
              </c:strCache>
            </c:strRef>
          </c:cat>
          <c:val>
            <c:numRef>
              <c:f>stolpediagram!$B$5:$B$11</c:f>
              <c:numCache>
                <c:formatCode>General</c:formatCode>
                <c:ptCount val="6"/>
                <c:pt idx="0">
                  <c:v>97</c:v>
                </c:pt>
                <c:pt idx="1">
                  <c:v>97</c:v>
                </c:pt>
                <c:pt idx="2">
                  <c:v>63</c:v>
                </c:pt>
                <c:pt idx="3">
                  <c:v>121</c:v>
                </c:pt>
                <c:pt idx="4">
                  <c:v>140</c:v>
                </c:pt>
                <c:pt idx="5">
                  <c:v>142</c:v>
                </c:pt>
              </c:numCache>
            </c:numRef>
          </c:val>
          <c:extLst>
            <c:ext xmlns:c16="http://schemas.microsoft.com/office/drawing/2014/chart" uri="{C3380CC4-5D6E-409C-BE32-E72D297353CC}">
              <c16:uniqueId val="{00000000-4AA8-4438-B7EA-0FF59316D195}"/>
            </c:ext>
          </c:extLst>
        </c:ser>
        <c:ser>
          <c:idx val="1"/>
          <c:order val="1"/>
          <c:tx>
            <c:strRef>
              <c:f>stolpediagram!$C$3:$C$4</c:f>
              <c:strCache>
                <c:ptCount val="1"/>
                <c:pt idx="0">
                  <c:v>Kommunal forvaltning</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C$5:$C$11</c:f>
              <c:numCache>
                <c:formatCode>General</c:formatCode>
                <c:ptCount val="6"/>
                <c:pt idx="0">
                  <c:v>650</c:v>
                </c:pt>
                <c:pt idx="1">
                  <c:v>671</c:v>
                </c:pt>
                <c:pt idx="2">
                  <c:v>663</c:v>
                </c:pt>
                <c:pt idx="3">
                  <c:v>678</c:v>
                </c:pt>
                <c:pt idx="4">
                  <c:v>724</c:v>
                </c:pt>
                <c:pt idx="5">
                  <c:v>727</c:v>
                </c:pt>
              </c:numCache>
            </c:numRef>
          </c:val>
          <c:extLst>
            <c:ext xmlns:c16="http://schemas.microsoft.com/office/drawing/2014/chart" uri="{C3380CC4-5D6E-409C-BE32-E72D297353CC}">
              <c16:uniqueId val="{00000001-4AA8-4438-B7EA-0FF59316D195}"/>
            </c:ext>
          </c:extLst>
        </c:ser>
        <c:ser>
          <c:idx val="2"/>
          <c:order val="2"/>
          <c:tx>
            <c:strRef>
              <c:f>stolpediagram!$D$3:$D$4</c:f>
              <c:strCache>
                <c:ptCount val="1"/>
                <c:pt idx="0">
                  <c:v>Offentlige eide foretak</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D$5:$D$11</c:f>
              <c:numCache>
                <c:formatCode>General</c:formatCode>
                <c:ptCount val="6"/>
                <c:pt idx="0">
                  <c:v>70</c:v>
                </c:pt>
                <c:pt idx="1">
                  <c:v>77</c:v>
                </c:pt>
                <c:pt idx="2">
                  <c:v>82</c:v>
                </c:pt>
                <c:pt idx="3">
                  <c:v>87</c:v>
                </c:pt>
                <c:pt idx="4">
                  <c:v>10</c:v>
                </c:pt>
                <c:pt idx="5">
                  <c:v>89</c:v>
                </c:pt>
              </c:numCache>
            </c:numRef>
          </c:val>
          <c:extLst>
            <c:ext xmlns:c16="http://schemas.microsoft.com/office/drawing/2014/chart" uri="{C3380CC4-5D6E-409C-BE32-E72D297353CC}">
              <c16:uniqueId val="{00000002-4AA8-4438-B7EA-0FF59316D195}"/>
            </c:ext>
          </c:extLst>
        </c:ser>
        <c:ser>
          <c:idx val="3"/>
          <c:order val="3"/>
          <c:tx>
            <c:strRef>
              <c:f>stolpediagram!$E$3:$E$4</c:f>
              <c:strCache>
                <c:ptCount val="1"/>
                <c:pt idx="0">
                  <c:v>Privat sektor</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E$5:$E$11</c:f>
              <c:numCache>
                <c:formatCode>General</c:formatCode>
                <c:ptCount val="6"/>
                <c:pt idx="0">
                  <c:v>1451</c:v>
                </c:pt>
                <c:pt idx="1">
                  <c:v>1358</c:v>
                </c:pt>
                <c:pt idx="2">
                  <c:v>1356</c:v>
                </c:pt>
                <c:pt idx="3">
                  <c:v>1407</c:v>
                </c:pt>
                <c:pt idx="4">
                  <c:v>1506</c:v>
                </c:pt>
                <c:pt idx="5">
                  <c:v>1355</c:v>
                </c:pt>
              </c:numCache>
            </c:numRef>
          </c:val>
          <c:extLst>
            <c:ext xmlns:c16="http://schemas.microsoft.com/office/drawing/2014/chart" uri="{C3380CC4-5D6E-409C-BE32-E72D297353CC}">
              <c16:uniqueId val="{00000003-4AA8-4438-B7EA-0FF59316D195}"/>
            </c:ext>
          </c:extLst>
        </c:ser>
        <c:ser>
          <c:idx val="4"/>
          <c:order val="4"/>
          <c:tx>
            <c:strRef>
              <c:f>stolpediagram!$F$3:$F$4</c:f>
              <c:strCache>
                <c:ptCount val="1"/>
                <c:pt idx="0">
                  <c:v>Statsforvaltningen</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5-4AA8-4438-B7EA-0FF59316D195}"/>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7-4AA8-4438-B7EA-0FF59316D195}"/>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9-4AA8-4438-B7EA-0FF59316D195}"/>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B-4AA8-4438-B7EA-0FF59316D195}"/>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D-4AA8-4438-B7EA-0FF59316D195}"/>
              </c:ext>
            </c:extLst>
          </c:dPt>
          <c:dPt>
            <c:idx val="5"/>
            <c:invertIfNegative val="0"/>
            <c:bubble3D val="0"/>
            <c:extLst>
              <c:ext xmlns:c16="http://schemas.microsoft.com/office/drawing/2014/chart" uri="{C3380CC4-5D6E-409C-BE32-E72D297353CC}">
                <c16:uniqueId val="{0000000E-4AA8-4438-B7EA-0FF59316D195}"/>
              </c:ext>
            </c:extLst>
          </c:dPt>
          <c:dLbls>
            <c:dLbl>
              <c:idx val="0"/>
              <c:layout>
                <c:manualLayout>
                  <c:x val="1.724881414402759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AA8-4438-B7EA-0FF59316D195}"/>
                </c:ext>
              </c:extLst>
            </c:dLbl>
            <c:dLbl>
              <c:idx val="1"/>
              <c:layout>
                <c:manualLayout>
                  <c:x val="1.552393272962483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AA8-4438-B7EA-0FF59316D195}"/>
                </c:ext>
              </c:extLst>
            </c:dLbl>
            <c:dLbl>
              <c:idx val="2"/>
              <c:layout>
                <c:manualLayout>
                  <c:x val="1.03492884864165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AA8-4438-B7EA-0FF59316D195}"/>
                </c:ext>
              </c:extLst>
            </c:dLbl>
            <c:dLbl>
              <c:idx val="3"/>
              <c:layout>
                <c:manualLayout>
                  <c:x val="6.899525657611039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AA8-4438-B7EA-0FF59316D195}"/>
                </c:ext>
              </c:extLst>
            </c:dLbl>
            <c:dLbl>
              <c:idx val="4"/>
              <c:layout>
                <c:manualLayout>
                  <c:x val="5.174644243208279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AA8-4438-B7EA-0FF59316D19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F$5:$F$11</c:f>
              <c:numCache>
                <c:formatCode>General</c:formatCode>
                <c:ptCount val="6"/>
                <c:pt idx="0">
                  <c:v>81</c:v>
                </c:pt>
                <c:pt idx="1">
                  <c:v>65</c:v>
                </c:pt>
                <c:pt idx="2">
                  <c:v>74</c:v>
                </c:pt>
                <c:pt idx="3">
                  <c:v>70</c:v>
                </c:pt>
                <c:pt idx="4">
                  <c:v>66</c:v>
                </c:pt>
                <c:pt idx="5">
                  <c:v>68</c:v>
                </c:pt>
              </c:numCache>
            </c:numRef>
          </c:val>
          <c:extLst>
            <c:ext xmlns:c16="http://schemas.microsoft.com/office/drawing/2014/chart" uri="{C3380CC4-5D6E-409C-BE32-E72D297353CC}">
              <c16:uniqueId val="{0000000F-4AA8-4438-B7EA-0FF59316D195}"/>
            </c:ext>
          </c:extLst>
        </c:ser>
        <c:dLbls>
          <c:showLegendKey val="0"/>
          <c:showVal val="0"/>
          <c:showCatName val="0"/>
          <c:showSerName val="0"/>
          <c:showPercent val="0"/>
          <c:showBubbleSize val="0"/>
        </c:dLbls>
        <c:gapWidth val="219"/>
        <c:overlap val="-27"/>
        <c:axId val="1129973376"/>
        <c:axId val="873491920"/>
      </c:barChart>
      <c:catAx>
        <c:axId val="112997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873491920"/>
        <c:crosses val="autoZero"/>
        <c:auto val="1"/>
        <c:lblAlgn val="ctr"/>
        <c:lblOffset val="100"/>
        <c:noMultiLvlLbl val="0"/>
      </c:catAx>
      <c:valAx>
        <c:axId val="8734919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1129973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Kakediagram!Pivottabell2</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Sysselsatte</a:t>
            </a:r>
            <a:r>
              <a:rPr lang="en-US" baseline="0">
                <a:solidFill>
                  <a:sysClr val="windowText" lastClr="000000"/>
                </a:solidFill>
                <a:latin typeface="Arial" panose="020B0604020202020204" pitchFamily="34" charset="0"/>
                <a:cs typeface="Arial" panose="020B0604020202020204" pitchFamily="34" charset="0"/>
              </a:rPr>
              <a:t> per sektor, 4. kvartal 2023 (SSB 13472)</a:t>
            </a:r>
            <a:endParaRPr lang="en-US">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5"/>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6"/>
        <c:spPr>
          <a:solidFill>
            <a:schemeClr val="accent1"/>
          </a:solidFill>
          <a:ln>
            <a:noFill/>
          </a:ln>
          <a:effectLst/>
        </c:spPr>
      </c:pivotFmt>
      <c:pivotFmt>
        <c:idx val="7"/>
        <c:spPr>
          <a:solidFill>
            <a:schemeClr val="accent1"/>
          </a:solidFill>
          <a:ln>
            <a:noFill/>
          </a:ln>
          <a:effectLst/>
        </c:spPr>
      </c:pivotFmt>
      <c:pivotFmt>
        <c:idx val="8"/>
        <c:spPr>
          <a:solidFill>
            <a:schemeClr val="accent1"/>
          </a:solidFill>
          <a:ln>
            <a:noFill/>
          </a:ln>
          <a:effectLst/>
        </c:spPr>
      </c:pivotFmt>
      <c:pivotFmt>
        <c:idx val="9"/>
        <c:spPr>
          <a:solidFill>
            <a:schemeClr val="accent1"/>
          </a:solidFill>
          <a:ln>
            <a:noFill/>
          </a:ln>
          <a:effectLst/>
        </c:spPr>
      </c:pivotFmt>
      <c:pivotFmt>
        <c:idx val="1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1"/>
        <c:spPr>
          <a:solidFill>
            <a:schemeClr val="accent1"/>
          </a:solidFill>
          <a:ln>
            <a:noFill/>
          </a:ln>
          <a:effectLst/>
        </c:spPr>
      </c:pivotFmt>
      <c:pivotFmt>
        <c:idx val="12"/>
        <c:spPr>
          <a:solidFill>
            <a:schemeClr val="accent1"/>
          </a:solidFill>
          <a:ln>
            <a:noFill/>
          </a:ln>
          <a:effectLst/>
        </c:spPr>
      </c:pivotFmt>
      <c:pivotFmt>
        <c:idx val="13"/>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4"/>
        <c:spPr>
          <a:solidFill>
            <a:schemeClr val="accent1"/>
          </a:solidFill>
          <a:ln>
            <a:noFill/>
          </a:ln>
          <a:effectLst/>
        </c:spPr>
      </c:pivotFmt>
      <c:pivotFmt>
        <c:idx val="15"/>
        <c:spPr>
          <a:solidFill>
            <a:schemeClr val="accent1"/>
          </a:solidFill>
          <a:ln>
            <a:noFill/>
          </a:ln>
          <a:effectLst/>
        </c:spPr>
      </c:pivotFmt>
      <c:pivotFmt>
        <c:idx val="16"/>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7"/>
        <c:spPr>
          <a:solidFill>
            <a:schemeClr val="accent1"/>
          </a:solidFill>
          <a:ln>
            <a:noFill/>
          </a:ln>
          <a:effectLst/>
        </c:spPr>
      </c:pivotFmt>
      <c:pivotFmt>
        <c:idx val="18"/>
        <c:spPr>
          <a:solidFill>
            <a:schemeClr val="accent1"/>
          </a:solidFill>
          <a:ln>
            <a:noFill/>
          </a:ln>
          <a:effectLst/>
        </c:spPr>
      </c:pivotFmt>
      <c:pivotFmt>
        <c:idx val="19"/>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20"/>
        <c:spPr>
          <a:solidFill>
            <a:schemeClr val="accent1"/>
          </a:solidFill>
          <a:ln>
            <a:noFill/>
          </a:ln>
          <a:effectLst/>
        </c:spPr>
      </c:pivotFmt>
      <c:pivotFmt>
        <c:idx val="21"/>
        <c:spPr>
          <a:solidFill>
            <a:schemeClr val="accent1"/>
          </a:solidFill>
          <a:ln>
            <a:noFill/>
          </a:ln>
          <a:effectLst/>
        </c:spPr>
      </c:pivotFmt>
    </c:pivotFmts>
    <c:plotArea>
      <c:layout/>
      <c:pieChart>
        <c:varyColors val="1"/>
        <c:ser>
          <c:idx val="0"/>
          <c:order val="0"/>
          <c:tx>
            <c:strRef>
              <c:f>Kakediagram!$B$4</c:f>
              <c:strCache>
                <c:ptCount val="1"/>
                <c:pt idx="0">
                  <c:v>Totalt</c:v>
                </c:pt>
              </c:strCache>
            </c:strRef>
          </c:tx>
          <c:dPt>
            <c:idx val="0"/>
            <c:bubble3D val="0"/>
            <c:spPr>
              <a:solidFill>
                <a:schemeClr val="accent1"/>
              </a:solidFill>
              <a:ln>
                <a:noFill/>
              </a:ln>
              <a:effectLst/>
            </c:spPr>
            <c:extLst>
              <c:ext xmlns:c16="http://schemas.microsoft.com/office/drawing/2014/chart" uri="{C3380CC4-5D6E-409C-BE32-E72D297353CC}">
                <c16:uniqueId val="{00000001-325D-4684-B5A3-1C7EBCF60A6E}"/>
              </c:ext>
            </c:extLst>
          </c:dPt>
          <c:dPt>
            <c:idx val="1"/>
            <c:bubble3D val="0"/>
            <c:spPr>
              <a:solidFill>
                <a:schemeClr val="accent2"/>
              </a:solidFill>
              <a:ln>
                <a:noFill/>
              </a:ln>
              <a:effectLst/>
            </c:spPr>
            <c:extLst>
              <c:ext xmlns:c16="http://schemas.microsoft.com/office/drawing/2014/chart" uri="{C3380CC4-5D6E-409C-BE32-E72D297353CC}">
                <c16:uniqueId val="{00000003-325D-4684-B5A3-1C7EBCF60A6E}"/>
              </c:ext>
            </c:extLst>
          </c:dPt>
          <c:dPt>
            <c:idx val="2"/>
            <c:bubble3D val="0"/>
            <c:spPr>
              <a:solidFill>
                <a:schemeClr val="accent3"/>
              </a:solidFill>
              <a:ln>
                <a:noFill/>
              </a:ln>
              <a:effectLst/>
            </c:spPr>
            <c:extLst>
              <c:ext xmlns:c16="http://schemas.microsoft.com/office/drawing/2014/chart" uri="{C3380CC4-5D6E-409C-BE32-E72D297353CC}">
                <c16:uniqueId val="{00000005-325D-4684-B5A3-1C7EBCF60A6E}"/>
              </c:ext>
            </c:extLst>
          </c:dPt>
          <c:dPt>
            <c:idx val="3"/>
            <c:bubble3D val="0"/>
            <c:spPr>
              <a:solidFill>
                <a:schemeClr val="accent4"/>
              </a:solidFill>
              <a:ln>
                <a:noFill/>
              </a:ln>
              <a:effectLst/>
            </c:spPr>
            <c:extLst>
              <c:ext xmlns:c16="http://schemas.microsoft.com/office/drawing/2014/chart" uri="{C3380CC4-5D6E-409C-BE32-E72D297353CC}">
                <c16:uniqueId val="{00000007-325D-4684-B5A3-1C7EBCF60A6E}"/>
              </c:ext>
            </c:extLst>
          </c:dPt>
          <c:dPt>
            <c:idx val="4"/>
            <c:bubble3D val="0"/>
            <c:spPr>
              <a:solidFill>
                <a:schemeClr val="accent5"/>
              </a:solidFill>
              <a:ln>
                <a:noFill/>
              </a:ln>
              <a:effectLst/>
            </c:spPr>
            <c:extLst>
              <c:ext xmlns:c16="http://schemas.microsoft.com/office/drawing/2014/chart" uri="{C3380CC4-5D6E-409C-BE32-E72D297353CC}">
                <c16:uniqueId val="{00000009-325D-4684-B5A3-1C7EBCF60A6E}"/>
              </c:ext>
            </c:extLst>
          </c:dPt>
          <c:dLbls>
            <c:dLbl>
              <c:idx val="2"/>
              <c:layout>
                <c:manualLayout>
                  <c:x val="4.7900023426033491E-3"/>
                  <c:y val="3.9053185836433024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325D-4684-B5A3-1C7EBCF60A6E}"/>
                </c:ext>
              </c:extLst>
            </c:dLbl>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Kakediagram!$A$5:$A$10</c:f>
              <c:strCache>
                <c:ptCount val="5"/>
                <c:pt idx="0">
                  <c:v>Fylkeskommunal forvaltning</c:v>
                </c:pt>
                <c:pt idx="1">
                  <c:v>Kommunal forvaltning</c:v>
                </c:pt>
                <c:pt idx="2">
                  <c:v>Offentlige eide foretak</c:v>
                </c:pt>
                <c:pt idx="3">
                  <c:v>Privat sektor</c:v>
                </c:pt>
                <c:pt idx="4">
                  <c:v>Statsforvaltningen</c:v>
                </c:pt>
              </c:strCache>
            </c:strRef>
          </c:cat>
          <c:val>
            <c:numRef>
              <c:f>Kakediagram!$B$5:$B$10</c:f>
              <c:numCache>
                <c:formatCode>General</c:formatCode>
                <c:ptCount val="5"/>
                <c:pt idx="0">
                  <c:v>142</c:v>
                </c:pt>
                <c:pt idx="1">
                  <c:v>727</c:v>
                </c:pt>
                <c:pt idx="2">
                  <c:v>89</c:v>
                </c:pt>
                <c:pt idx="3">
                  <c:v>1355</c:v>
                </c:pt>
                <c:pt idx="4">
                  <c:v>68</c:v>
                </c:pt>
              </c:numCache>
            </c:numRef>
          </c:val>
          <c:extLst>
            <c:ext xmlns:c16="http://schemas.microsoft.com/office/drawing/2014/chart" uri="{C3380CC4-5D6E-409C-BE32-E72D297353CC}">
              <c16:uniqueId val="{0000000A-325D-4684-B5A3-1C7EBCF60A6E}"/>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pivot 2 siffer!Pivottabell7</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Industri, samt bygge- og anleggsvirksomhet (SSB 1347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6"/>
        <c:spPr>
          <a:solidFill>
            <a:schemeClr val="accent1"/>
          </a:solidFill>
          <a:ln w="28575" cap="rnd">
            <a:solidFill>
              <a:schemeClr val="accent1"/>
            </a:solidFill>
            <a:round/>
          </a:ln>
          <a:effectLst/>
        </c:spPr>
        <c:marker>
          <c:symbol val="none"/>
        </c:marker>
      </c:pivotFmt>
      <c:pivotFmt>
        <c:idx val="3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
        <c:spPr>
          <a:solidFill>
            <a:schemeClr val="accent1"/>
          </a:solidFill>
          <a:ln w="25400" cap="rnd">
            <a:no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3"/>
      </c:pivotFmt>
      <c:pivotFmt>
        <c:idx val="94"/>
      </c:pivotFmt>
      <c:pivotFmt>
        <c:idx val="95"/>
      </c:pivotFmt>
      <c:pivotFmt>
        <c:idx val="96"/>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7"/>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0"/>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2"/>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pivotFmt>
      <c:pivotFmt>
        <c:idx val="10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4"/>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pivotFmt>
      <c:pivotFmt>
        <c:idx val="10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0"/>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1"/>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7"/>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0"/>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4"/>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2 siffer'!$B$4:$B$5</c:f>
              <c:strCache>
                <c:ptCount val="1"/>
                <c:pt idx="0">
                  <c:v>25 Metallvareindustri</c:v>
                </c:pt>
              </c:strCache>
            </c:strRef>
          </c:tx>
          <c:spPr>
            <a:ln w="28575" cap="rnd">
              <a:solidFill>
                <a:schemeClr val="accent1"/>
              </a:solidFill>
              <a:round/>
            </a:ln>
            <a:effectLst/>
          </c:spPr>
          <c:marker>
            <c:symbol val="diamond"/>
            <c:size val="5"/>
            <c:spPr>
              <a:solidFill>
                <a:schemeClr val="accent1"/>
              </a:solidFill>
              <a:ln w="9525">
                <a:solidFill>
                  <a:schemeClr val="accent1"/>
                </a:solidFill>
              </a:ln>
              <a:effectLst/>
            </c:spPr>
          </c:marker>
          <c:cat>
            <c:strRef>
              <c:f>'pivot 2 siffer'!$A$6:$A$12</c:f>
              <c:strCache>
                <c:ptCount val="6"/>
                <c:pt idx="0">
                  <c:v>2018</c:v>
                </c:pt>
                <c:pt idx="1">
                  <c:v>2019</c:v>
                </c:pt>
                <c:pt idx="2">
                  <c:v>2020</c:v>
                </c:pt>
                <c:pt idx="3">
                  <c:v>2021</c:v>
                </c:pt>
                <c:pt idx="4">
                  <c:v>2022</c:v>
                </c:pt>
                <c:pt idx="5">
                  <c:v>2023</c:v>
                </c:pt>
              </c:strCache>
            </c:strRef>
          </c:cat>
          <c:val>
            <c:numRef>
              <c:f>'pivot 2 siffer'!$B$6:$B$12</c:f>
              <c:numCache>
                <c:formatCode>General</c:formatCode>
                <c:ptCount val="6"/>
                <c:pt idx="0">
                  <c:v>110</c:v>
                </c:pt>
                <c:pt idx="1">
                  <c:v>114</c:v>
                </c:pt>
                <c:pt idx="2">
                  <c:v>99</c:v>
                </c:pt>
                <c:pt idx="3">
                  <c:v>112</c:v>
                </c:pt>
                <c:pt idx="4">
                  <c:v>106</c:v>
                </c:pt>
                <c:pt idx="5">
                  <c:v>86</c:v>
                </c:pt>
              </c:numCache>
            </c:numRef>
          </c:val>
          <c:smooth val="0"/>
          <c:extLst>
            <c:ext xmlns:c16="http://schemas.microsoft.com/office/drawing/2014/chart" uri="{C3380CC4-5D6E-409C-BE32-E72D297353CC}">
              <c16:uniqueId val="{00000000-2ABD-45BC-9E8B-3B07CC1A00F4}"/>
            </c:ext>
          </c:extLst>
        </c:ser>
        <c:ser>
          <c:idx val="3"/>
          <c:order val="1"/>
          <c:tx>
            <c:strRef>
              <c:f>'pivot 2 siffer'!$C$4:$C$5</c:f>
              <c:strCache>
                <c:ptCount val="1"/>
                <c:pt idx="0">
                  <c:v>28 Maskinindustri</c:v>
                </c:pt>
              </c:strCache>
            </c:strRef>
          </c:tx>
          <c:spPr>
            <a:ln w="28575" cap="rnd">
              <a:solidFill>
                <a:schemeClr val="accent4"/>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C$6:$C$12</c:f>
              <c:numCache>
                <c:formatCode>General</c:formatCode>
                <c:ptCount val="6"/>
                <c:pt idx="0">
                  <c:v>49</c:v>
                </c:pt>
                <c:pt idx="1">
                  <c:v>54</c:v>
                </c:pt>
                <c:pt idx="2">
                  <c:v>58</c:v>
                </c:pt>
                <c:pt idx="3">
                  <c:v>33</c:v>
                </c:pt>
                <c:pt idx="4">
                  <c:v>55</c:v>
                </c:pt>
                <c:pt idx="5">
                  <c:v>59</c:v>
                </c:pt>
              </c:numCache>
            </c:numRef>
          </c:val>
          <c:smooth val="0"/>
          <c:extLst>
            <c:ext xmlns:c16="http://schemas.microsoft.com/office/drawing/2014/chart" uri="{C3380CC4-5D6E-409C-BE32-E72D297353CC}">
              <c16:uniqueId val="{00000001-2ABD-45BC-9E8B-3B07CC1A00F4}"/>
            </c:ext>
          </c:extLst>
        </c:ser>
        <c:ser>
          <c:idx val="1"/>
          <c:order val="2"/>
          <c:tx>
            <c:strRef>
              <c:f>'pivot 2 siffer'!$D$4:$D$5</c:f>
              <c:strCache>
                <c:ptCount val="1"/>
                <c:pt idx="0">
                  <c:v>41 Oppføring av bygninger</c:v>
                </c:pt>
              </c:strCache>
            </c:strRef>
          </c:tx>
          <c:spPr>
            <a:ln w="28575" cap="rnd">
              <a:solidFill>
                <a:schemeClr val="accent2"/>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D$6:$D$12</c:f>
              <c:numCache>
                <c:formatCode>General</c:formatCode>
                <c:ptCount val="6"/>
                <c:pt idx="0">
                  <c:v>76</c:v>
                </c:pt>
                <c:pt idx="1">
                  <c:v>82</c:v>
                </c:pt>
                <c:pt idx="2">
                  <c:v>76</c:v>
                </c:pt>
                <c:pt idx="3">
                  <c:v>80</c:v>
                </c:pt>
                <c:pt idx="4">
                  <c:v>107</c:v>
                </c:pt>
                <c:pt idx="5">
                  <c:v>79</c:v>
                </c:pt>
              </c:numCache>
            </c:numRef>
          </c:val>
          <c:smooth val="0"/>
          <c:extLst>
            <c:ext xmlns:c16="http://schemas.microsoft.com/office/drawing/2014/chart" uri="{C3380CC4-5D6E-409C-BE32-E72D297353CC}">
              <c16:uniqueId val="{00000002-2ABD-45BC-9E8B-3B07CC1A00F4}"/>
            </c:ext>
          </c:extLst>
        </c:ser>
        <c:ser>
          <c:idx val="2"/>
          <c:order val="3"/>
          <c:tx>
            <c:strRef>
              <c:f>'pivot 2 siffer'!$E$4:$E$5</c:f>
              <c:strCache>
                <c:ptCount val="1"/>
                <c:pt idx="0">
                  <c:v>43 Spesialisert bygge- og anleggsvirksomhet</c:v>
                </c:pt>
              </c:strCache>
            </c:strRef>
          </c:tx>
          <c:spPr>
            <a:ln w="28575" cap="rnd">
              <a:solidFill>
                <a:schemeClr val="accent3"/>
              </a:solidFill>
              <a:round/>
            </a:ln>
            <a:effectLst/>
          </c:spPr>
          <c:marker>
            <c:symbol val="diamond"/>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2 siffer'!$A$6:$A$12</c:f>
              <c:strCache>
                <c:ptCount val="6"/>
                <c:pt idx="0">
                  <c:v>2018</c:v>
                </c:pt>
                <c:pt idx="1">
                  <c:v>2019</c:v>
                </c:pt>
                <c:pt idx="2">
                  <c:v>2020</c:v>
                </c:pt>
                <c:pt idx="3">
                  <c:v>2021</c:v>
                </c:pt>
                <c:pt idx="4">
                  <c:v>2022</c:v>
                </c:pt>
                <c:pt idx="5">
                  <c:v>2023</c:v>
                </c:pt>
              </c:strCache>
            </c:strRef>
          </c:cat>
          <c:val>
            <c:numRef>
              <c:f>'pivot 2 siffer'!$E$6:$E$12</c:f>
              <c:numCache>
                <c:formatCode>General</c:formatCode>
                <c:ptCount val="6"/>
                <c:pt idx="0">
                  <c:v>140</c:v>
                </c:pt>
                <c:pt idx="1">
                  <c:v>130</c:v>
                </c:pt>
                <c:pt idx="2">
                  <c:v>127</c:v>
                </c:pt>
                <c:pt idx="3">
                  <c:v>130</c:v>
                </c:pt>
                <c:pt idx="4">
                  <c:v>127</c:v>
                </c:pt>
                <c:pt idx="5">
                  <c:v>137</c:v>
                </c:pt>
              </c:numCache>
            </c:numRef>
          </c:val>
          <c:smooth val="0"/>
          <c:extLst>
            <c:ext xmlns:c16="http://schemas.microsoft.com/office/drawing/2014/chart" uri="{C3380CC4-5D6E-409C-BE32-E72D297353CC}">
              <c16:uniqueId val="{00000003-2ABD-45BC-9E8B-3B07CC1A00F4}"/>
            </c:ext>
          </c:extLst>
        </c:ser>
        <c:dLbls>
          <c:showLegendKey val="0"/>
          <c:showVal val="0"/>
          <c:showCatName val="0"/>
          <c:showSerName val="0"/>
          <c:showPercent val="0"/>
          <c:showBubbleSize val="0"/>
        </c:dLbls>
        <c:marker val="1"/>
        <c:smooth val="0"/>
        <c:axId val="757237584"/>
        <c:axId val="1244407728"/>
      </c:lineChart>
      <c:catAx>
        <c:axId val="75723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244407728"/>
        <c:crosses val="autoZero"/>
        <c:auto val="1"/>
        <c:lblAlgn val="ctr"/>
        <c:lblOffset val="100"/>
        <c:noMultiLvlLbl val="0"/>
      </c:catAx>
      <c:valAx>
        <c:axId val="12444077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5723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runnskolepoeng.xlsx]Pivot_tom_2023!Pivottabell4</c:name>
    <c:fmtId val="119"/>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a:solidFill>
                  <a:sysClr val="windowText" lastClr="000000"/>
                </a:solidFill>
                <a:latin typeface="Arial" panose="020B0604020202020204" pitchFamily="34" charset="0"/>
                <a:cs typeface="Arial" panose="020B0604020202020204" pitchFamily="34" charset="0"/>
              </a:rPr>
              <a:t>Grunnskolepoeng</a:t>
            </a:r>
            <a:r>
              <a:rPr lang="nb-NO" sz="1600" baseline="0">
                <a:solidFill>
                  <a:sysClr val="windowText" lastClr="000000"/>
                </a:solidFill>
                <a:latin typeface="Arial" panose="020B0604020202020204" pitchFamily="34" charset="0"/>
                <a:cs typeface="Arial" panose="020B0604020202020204" pitchFamily="34" charset="0"/>
              </a:rPr>
              <a:t> for begge kjønn, siste 5 år</a:t>
            </a:r>
            <a:endParaRPr lang="nb-NO" sz="1600">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7"/>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tom_2023!$B$4:$B$5</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Tvedestrand</c:v>
                </c:pt>
              </c:strCache>
            </c:strRef>
          </c:cat>
          <c:val>
            <c:numRef>
              <c:f>Pivot_tom_2023!$B$6:$B$8</c:f>
              <c:numCache>
                <c:formatCode>General</c:formatCode>
                <c:ptCount val="2"/>
                <c:pt idx="0">
                  <c:v>42.3</c:v>
                </c:pt>
                <c:pt idx="1">
                  <c:v>44</c:v>
                </c:pt>
              </c:numCache>
            </c:numRef>
          </c:val>
          <c:extLst>
            <c:ext xmlns:c16="http://schemas.microsoft.com/office/drawing/2014/chart" uri="{C3380CC4-5D6E-409C-BE32-E72D297353CC}">
              <c16:uniqueId val="{00000000-94F8-48E1-A99C-D878EDC1C03E}"/>
            </c:ext>
          </c:extLst>
        </c:ser>
        <c:ser>
          <c:idx val="1"/>
          <c:order val="1"/>
          <c:tx>
            <c:strRef>
              <c:f>Pivot_tom_2023!$C$4:$C$5</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Tvedestrand</c:v>
                </c:pt>
              </c:strCache>
            </c:strRef>
          </c:cat>
          <c:val>
            <c:numRef>
              <c:f>Pivot_tom_2023!$C$6:$C$8</c:f>
              <c:numCache>
                <c:formatCode>General</c:formatCode>
                <c:ptCount val="2"/>
                <c:pt idx="0">
                  <c:v>42.6</c:v>
                </c:pt>
                <c:pt idx="1">
                  <c:v>42.6</c:v>
                </c:pt>
              </c:numCache>
            </c:numRef>
          </c:val>
          <c:extLst>
            <c:ext xmlns:c16="http://schemas.microsoft.com/office/drawing/2014/chart" uri="{C3380CC4-5D6E-409C-BE32-E72D297353CC}">
              <c16:uniqueId val="{00000001-94F8-48E1-A99C-D878EDC1C03E}"/>
            </c:ext>
          </c:extLst>
        </c:ser>
        <c:ser>
          <c:idx val="2"/>
          <c:order val="2"/>
          <c:tx>
            <c:strRef>
              <c:f>Pivot_tom_2023!$D$4:$D$5</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Tvedestrand</c:v>
                </c:pt>
              </c:strCache>
            </c:strRef>
          </c:cat>
          <c:val>
            <c:numRef>
              <c:f>Pivot_tom_2023!$D$6:$D$8</c:f>
              <c:numCache>
                <c:formatCode>General</c:formatCode>
                <c:ptCount val="2"/>
                <c:pt idx="0">
                  <c:v>42.8</c:v>
                </c:pt>
                <c:pt idx="1">
                  <c:v>43.8</c:v>
                </c:pt>
              </c:numCache>
            </c:numRef>
          </c:val>
          <c:extLst>
            <c:ext xmlns:c16="http://schemas.microsoft.com/office/drawing/2014/chart" uri="{C3380CC4-5D6E-409C-BE32-E72D297353CC}">
              <c16:uniqueId val="{00000002-94F8-48E1-A99C-D878EDC1C03E}"/>
            </c:ext>
          </c:extLst>
        </c:ser>
        <c:ser>
          <c:idx val="3"/>
          <c:order val="3"/>
          <c:tx>
            <c:strRef>
              <c:f>Pivot_tom_2023!$E$4:$E$5</c:f>
              <c:strCache>
                <c:ptCount val="1"/>
                <c:pt idx="0">
                  <c:v>2023</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Tvedestrand</c:v>
                </c:pt>
              </c:strCache>
            </c:strRef>
          </c:cat>
          <c:val>
            <c:numRef>
              <c:f>Pivot_tom_2023!$E$6:$E$8</c:f>
              <c:numCache>
                <c:formatCode>General</c:formatCode>
                <c:ptCount val="2"/>
                <c:pt idx="0">
                  <c:v>41.5</c:v>
                </c:pt>
                <c:pt idx="1">
                  <c:v>40.299999999999997</c:v>
                </c:pt>
              </c:numCache>
            </c:numRef>
          </c:val>
          <c:extLst>
            <c:ext xmlns:c16="http://schemas.microsoft.com/office/drawing/2014/chart" uri="{C3380CC4-5D6E-409C-BE32-E72D297353CC}">
              <c16:uniqueId val="{00000003-94F8-48E1-A99C-D878EDC1C03E}"/>
            </c:ext>
          </c:extLst>
        </c:ser>
        <c:ser>
          <c:idx val="4"/>
          <c:order val="4"/>
          <c:tx>
            <c:strRef>
              <c:f>Pivot_tom_2023!$F$4:$F$5</c:f>
              <c:strCache>
                <c:ptCount val="1"/>
                <c:pt idx="0">
                  <c:v>2024</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Tvedestrand</c:v>
                </c:pt>
              </c:strCache>
            </c:strRef>
          </c:cat>
          <c:val>
            <c:numRef>
              <c:f>Pivot_tom_2023!$F$6:$F$8</c:f>
              <c:numCache>
                <c:formatCode>General</c:formatCode>
                <c:ptCount val="2"/>
                <c:pt idx="0">
                  <c:v>41.6</c:v>
                </c:pt>
                <c:pt idx="1">
                  <c:v>40</c:v>
                </c:pt>
              </c:numCache>
            </c:numRef>
          </c:val>
          <c:extLst>
            <c:ext xmlns:c16="http://schemas.microsoft.com/office/drawing/2014/chart" uri="{C3380CC4-5D6E-409C-BE32-E72D297353CC}">
              <c16:uniqueId val="{00000004-94F8-48E1-A99C-D878EDC1C03E}"/>
            </c:ext>
          </c:extLst>
        </c:ser>
        <c:dLbls>
          <c:showLegendKey val="0"/>
          <c:showVal val="0"/>
          <c:showCatName val="0"/>
          <c:showSerName val="0"/>
          <c:showPercent val="0"/>
          <c:showBubbleSize val="0"/>
        </c:dLbls>
        <c:gapWidth val="219"/>
        <c:axId val="1569500575"/>
        <c:axId val="1968699919"/>
      </c:barChart>
      <c:catAx>
        <c:axId val="1569500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968699919"/>
        <c:crosses val="autoZero"/>
        <c:auto val="1"/>
        <c:lblAlgn val="ctr"/>
        <c:lblOffset val="100"/>
        <c:noMultiLvlLbl val="0"/>
      </c:catAx>
      <c:valAx>
        <c:axId val="1968699919"/>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005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jennomføring_vgo.xlsx]bruk 2024!Pivottabell1</c:name>
    <c:fmtId val="37"/>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b="0">
                <a:solidFill>
                  <a:sysClr val="windowText" lastClr="000000"/>
                </a:solidFill>
                <a:latin typeface="Arial" panose="020B0604020202020204" pitchFamily="34" charset="0"/>
                <a:cs typeface="Arial" panose="020B0604020202020204" pitchFamily="34" charset="0"/>
              </a:rPr>
              <a:t>Gjennomføring vgo, begge kjønn, alle utdanningsprogram</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dLbl>
          <c:idx val="0"/>
          <c:showLegendKey val="0"/>
          <c:showVal val="1"/>
          <c:showCatName val="0"/>
          <c:showSerName val="0"/>
          <c:showPercent val="0"/>
          <c:showBubbleSize val="0"/>
          <c:extLst>
            <c:ext xmlns:c15="http://schemas.microsoft.com/office/drawing/2012/chart" uri="{CE6537A1-D6FC-4f65-9D91-7224C49458BB}"/>
          </c:extLst>
        </c:dLbl>
      </c:pivotFmt>
      <c:pivotFmt>
        <c:idx val="32"/>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showLegendKey val="0"/>
          <c:showVal val="1"/>
          <c:showCatName val="0"/>
          <c:showSerName val="0"/>
          <c:showPercent val="0"/>
          <c:showBubbleSize val="0"/>
          <c:extLst>
            <c:ext xmlns:c15="http://schemas.microsoft.com/office/drawing/2012/chart" uri="{CE6537A1-D6FC-4f65-9D91-7224C49458BB}"/>
          </c:extLst>
        </c:dLbl>
      </c:pivotFmt>
      <c:pivotFmt>
        <c:idx val="34"/>
        <c:dLbl>
          <c:idx val="0"/>
          <c:showLegendKey val="0"/>
          <c:showVal val="1"/>
          <c:showCatName val="0"/>
          <c:showSerName val="0"/>
          <c:showPercent val="0"/>
          <c:showBubbleSize val="0"/>
          <c:extLst>
            <c:ext xmlns:c15="http://schemas.microsoft.com/office/drawing/2012/chart" uri="{CE6537A1-D6FC-4f65-9D91-7224C49458BB}"/>
          </c:extLst>
        </c:dLbl>
      </c:pivotFmt>
      <c:pivotFmt>
        <c:idx val="35"/>
        <c:dLbl>
          <c:idx val="0"/>
          <c:showLegendKey val="0"/>
          <c:showVal val="1"/>
          <c:showCatName val="0"/>
          <c:showSerName val="0"/>
          <c:showPercent val="0"/>
          <c:showBubbleSize val="0"/>
          <c:extLst>
            <c:ext xmlns:c15="http://schemas.microsoft.com/office/drawing/2012/chart" uri="{CE6537A1-D6FC-4f65-9D91-7224C49458BB}"/>
          </c:extLst>
        </c:dLbl>
      </c:pivotFmt>
      <c:pivotFmt>
        <c:idx val="36"/>
        <c:dLbl>
          <c:idx val="0"/>
          <c:showLegendKey val="0"/>
          <c:showVal val="1"/>
          <c:showCatName val="0"/>
          <c:showSerName val="0"/>
          <c:showPercent val="0"/>
          <c:showBubbleSize val="0"/>
          <c:extLst>
            <c:ext xmlns:c15="http://schemas.microsoft.com/office/drawing/2012/chart" uri="{CE6537A1-D6FC-4f65-9D91-7224C49458BB}"/>
          </c:extLst>
        </c:dLbl>
      </c:pivotFmt>
      <c:pivotFmt>
        <c:idx val="37"/>
        <c:dLbl>
          <c:idx val="0"/>
          <c:showLegendKey val="0"/>
          <c:showVal val="1"/>
          <c:showCatName val="0"/>
          <c:showSerName val="0"/>
          <c:showPercent val="0"/>
          <c:showBubbleSize val="0"/>
          <c:extLst>
            <c:ext xmlns:c15="http://schemas.microsoft.com/office/drawing/2012/chart" uri="{CE6537A1-D6FC-4f65-9D91-7224C49458BB}"/>
          </c:extLst>
        </c:dLbl>
      </c:pivotFmt>
      <c:pivotFmt>
        <c:idx val="38"/>
        <c:spPr>
          <a:solidFill>
            <a:schemeClr val="accent2"/>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ruk 2024'!$B$5:$B$6</c:f>
              <c:strCache>
                <c:ptCount val="1"/>
                <c:pt idx="0">
                  <c:v>Agde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B$7:$B$12</c:f>
              <c:numCache>
                <c:formatCode>General</c:formatCode>
                <c:ptCount val="5"/>
                <c:pt idx="0">
                  <c:v>78.099999999999994</c:v>
                </c:pt>
                <c:pt idx="1">
                  <c:v>78</c:v>
                </c:pt>
                <c:pt idx="2">
                  <c:v>80</c:v>
                </c:pt>
                <c:pt idx="3">
                  <c:v>80.900000000000006</c:v>
                </c:pt>
                <c:pt idx="4">
                  <c:v>83.6</c:v>
                </c:pt>
              </c:numCache>
            </c:numRef>
          </c:val>
          <c:extLst>
            <c:ext xmlns:c16="http://schemas.microsoft.com/office/drawing/2014/chart" uri="{C3380CC4-5D6E-409C-BE32-E72D297353CC}">
              <c16:uniqueId val="{00000000-1A7A-4ABA-A6B3-B4498FA70A52}"/>
            </c:ext>
          </c:extLst>
        </c:ser>
        <c:ser>
          <c:idx val="1"/>
          <c:order val="1"/>
          <c:tx>
            <c:strRef>
              <c:f>'bruk 2024'!$C$5:$C$6</c:f>
              <c:strCache>
                <c:ptCount val="1"/>
                <c:pt idx="0">
                  <c:v>Tvedestran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C$7:$C$12</c:f>
              <c:numCache>
                <c:formatCode>General</c:formatCode>
                <c:ptCount val="5"/>
                <c:pt idx="0">
                  <c:v>77.5</c:v>
                </c:pt>
                <c:pt idx="1">
                  <c:v>77.8</c:v>
                </c:pt>
                <c:pt idx="2">
                  <c:v>73.2</c:v>
                </c:pt>
                <c:pt idx="3">
                  <c:v>76.2</c:v>
                </c:pt>
                <c:pt idx="4">
                  <c:v>84.7</c:v>
                </c:pt>
              </c:numCache>
            </c:numRef>
          </c:val>
          <c:extLst>
            <c:ext xmlns:c16="http://schemas.microsoft.com/office/drawing/2014/chart" uri="{C3380CC4-5D6E-409C-BE32-E72D297353CC}">
              <c16:uniqueId val="{00000001-1A7A-4ABA-A6B3-B4498FA70A52}"/>
            </c:ext>
          </c:extLst>
        </c:ser>
        <c:dLbls>
          <c:showLegendKey val="0"/>
          <c:showVal val="0"/>
          <c:showCatName val="0"/>
          <c:showSerName val="0"/>
          <c:showPercent val="0"/>
          <c:showBubbleSize val="0"/>
        </c:dLbls>
        <c:gapWidth val="219"/>
        <c:overlap val="-27"/>
        <c:axId val="490383760"/>
        <c:axId val="490382800"/>
      </c:barChart>
      <c:catAx>
        <c:axId val="490383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2800"/>
        <c:crosses val="autoZero"/>
        <c:auto val="1"/>
        <c:lblAlgn val="ctr"/>
        <c:lblOffset val="100"/>
        <c:noMultiLvlLbl val="0"/>
      </c:catAx>
      <c:valAx>
        <c:axId val="490382800"/>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376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Lærekontrakter per 1000 innbyggere, kommunal sektor, 11.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08.11.24 - kommune'!$B$1</c:f>
              <c:strCache>
                <c:ptCount val="1"/>
                <c:pt idx="0">
                  <c:v>Antall kontrakter per 1000 innbyggere</c:v>
                </c:pt>
              </c:strCache>
            </c:strRef>
          </c:tx>
          <c:spPr>
            <a:solidFill>
              <a:srgbClr val="002060"/>
            </a:solidFill>
            <a:ln>
              <a:noFill/>
            </a:ln>
            <a:effectLst/>
          </c:spPr>
          <c:invertIfNegative val="0"/>
          <c:dPt>
            <c:idx val="0"/>
            <c:invertIfNegative val="0"/>
            <c:bubble3D val="0"/>
            <c:spPr>
              <a:solidFill>
                <a:srgbClr val="002060"/>
              </a:solidFill>
              <a:ln>
                <a:noFill/>
              </a:ln>
              <a:effectLst/>
            </c:spPr>
            <c:extLst>
              <c:ext xmlns:c16="http://schemas.microsoft.com/office/drawing/2014/chart" uri="{C3380CC4-5D6E-409C-BE32-E72D297353CC}">
                <c16:uniqueId val="{00000001-C0BD-426C-AC55-A1ED62A912D4}"/>
              </c:ext>
            </c:extLst>
          </c:dPt>
          <c:dPt>
            <c:idx val="9"/>
            <c:invertIfNegative val="0"/>
            <c:bubble3D val="0"/>
            <c:spPr>
              <a:solidFill>
                <a:schemeClr val="accent1"/>
              </a:solidFill>
              <a:ln>
                <a:noFill/>
              </a:ln>
              <a:effectLst/>
            </c:spPr>
            <c:extLst>
              <c:ext xmlns:c16="http://schemas.microsoft.com/office/drawing/2014/chart" uri="{C3380CC4-5D6E-409C-BE32-E72D297353CC}">
                <c16:uniqueId val="{00000004-C0BD-426C-AC55-A1ED62A912D4}"/>
              </c:ext>
            </c:extLst>
          </c:dPt>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B$2:$B$26</c:f>
              <c:numCache>
                <c:formatCode>0.0</c:formatCode>
                <c:ptCount val="25"/>
                <c:pt idx="0">
                  <c:v>0.6</c:v>
                </c:pt>
                <c:pt idx="1">
                  <c:v>1.3</c:v>
                </c:pt>
                <c:pt idx="2">
                  <c:v>1.5</c:v>
                </c:pt>
                <c:pt idx="3">
                  <c:v>1.8</c:v>
                </c:pt>
                <c:pt idx="4">
                  <c:v>1.8</c:v>
                </c:pt>
                <c:pt idx="5">
                  <c:v>1.8</c:v>
                </c:pt>
                <c:pt idx="6">
                  <c:v>1.9</c:v>
                </c:pt>
                <c:pt idx="7">
                  <c:v>2</c:v>
                </c:pt>
                <c:pt idx="8">
                  <c:v>2</c:v>
                </c:pt>
                <c:pt idx="9">
                  <c:v>2.1</c:v>
                </c:pt>
                <c:pt idx="10">
                  <c:v>2.2999999999999998</c:v>
                </c:pt>
                <c:pt idx="11">
                  <c:v>2.2999999999999998</c:v>
                </c:pt>
                <c:pt idx="12">
                  <c:v>2.2999999999999998</c:v>
                </c:pt>
                <c:pt idx="13">
                  <c:v>2.5</c:v>
                </c:pt>
                <c:pt idx="14">
                  <c:v>2.6</c:v>
                </c:pt>
                <c:pt idx="15">
                  <c:v>2.6</c:v>
                </c:pt>
                <c:pt idx="16">
                  <c:v>2.9</c:v>
                </c:pt>
                <c:pt idx="17">
                  <c:v>3</c:v>
                </c:pt>
                <c:pt idx="18">
                  <c:v>3</c:v>
                </c:pt>
                <c:pt idx="19">
                  <c:v>3.3</c:v>
                </c:pt>
                <c:pt idx="20">
                  <c:v>3.6</c:v>
                </c:pt>
                <c:pt idx="21">
                  <c:v>3.7</c:v>
                </c:pt>
                <c:pt idx="22">
                  <c:v>3.8</c:v>
                </c:pt>
                <c:pt idx="23">
                  <c:v>4.3</c:v>
                </c:pt>
                <c:pt idx="24">
                  <c:v>8</c:v>
                </c:pt>
              </c:numCache>
            </c:numRef>
          </c:val>
          <c:extLst>
            <c:ext xmlns:c16="http://schemas.microsoft.com/office/drawing/2014/chart" uri="{C3380CC4-5D6E-409C-BE32-E72D297353CC}">
              <c16:uniqueId val="{00000002-C0BD-426C-AC55-A1ED62A912D4}"/>
            </c:ext>
          </c:extLst>
        </c:ser>
        <c:dLbls>
          <c:showLegendKey val="0"/>
          <c:showVal val="0"/>
          <c:showCatName val="0"/>
          <c:showSerName val="0"/>
          <c:showPercent val="0"/>
          <c:showBubbleSize val="0"/>
        </c:dLbls>
        <c:gapWidth val="150"/>
        <c:axId val="488660200"/>
        <c:axId val="488652328"/>
      </c:barChart>
      <c:lineChart>
        <c:grouping val="standard"/>
        <c:varyColors val="0"/>
        <c:ser>
          <c:idx val="1"/>
          <c:order val="1"/>
          <c:tx>
            <c:strRef>
              <c:f>'[Lærekontrakter_180923.xlsx]08.11.24 - kommune'!$C$1</c:f>
              <c:strCache>
                <c:ptCount val="1"/>
                <c:pt idx="0">
                  <c:v>Målsetning antall kontrakter per 1000</c:v>
                </c:pt>
              </c:strCache>
            </c:strRef>
          </c:tx>
          <c:spPr>
            <a:ln w="28575" cap="rnd">
              <a:solidFill>
                <a:schemeClr val="tx1"/>
              </a:solidFill>
              <a:prstDash val="dash"/>
              <a:round/>
            </a:ln>
            <a:effectLst/>
          </c:spPr>
          <c:marker>
            <c:symbol val="none"/>
          </c:marker>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C$2:$C$26</c:f>
              <c:numCache>
                <c:formatCode>General</c:formatCode>
                <c:ptCount val="25"/>
                <c:pt idx="0">
                  <c:v>3</c:v>
                </c:pt>
                <c:pt idx="1">
                  <c:v>3</c:v>
                </c:pt>
                <c:pt idx="2">
                  <c:v>3</c:v>
                </c:pt>
                <c:pt idx="3">
                  <c:v>3</c:v>
                </c:pt>
                <c:pt idx="4">
                  <c:v>3</c:v>
                </c:pt>
                <c:pt idx="5">
                  <c:v>3</c:v>
                </c:pt>
                <c:pt idx="6">
                  <c:v>3</c:v>
                </c:pt>
                <c:pt idx="7">
                  <c:v>3</c:v>
                </c:pt>
                <c:pt idx="8">
                  <c:v>3</c:v>
                </c:pt>
                <c:pt idx="9">
                  <c:v>3</c:v>
                </c:pt>
                <c:pt idx="10">
                  <c:v>3</c:v>
                </c:pt>
                <c:pt idx="11">
                  <c:v>3</c:v>
                </c:pt>
                <c:pt idx="12">
                  <c:v>3</c:v>
                </c:pt>
                <c:pt idx="13">
                  <c:v>3</c:v>
                </c:pt>
                <c:pt idx="14">
                  <c:v>3</c:v>
                </c:pt>
                <c:pt idx="15">
                  <c:v>3</c:v>
                </c:pt>
                <c:pt idx="16">
                  <c:v>3</c:v>
                </c:pt>
                <c:pt idx="17">
                  <c:v>3</c:v>
                </c:pt>
                <c:pt idx="18">
                  <c:v>3</c:v>
                </c:pt>
                <c:pt idx="19">
                  <c:v>3</c:v>
                </c:pt>
                <c:pt idx="20">
                  <c:v>3</c:v>
                </c:pt>
                <c:pt idx="21">
                  <c:v>3</c:v>
                </c:pt>
                <c:pt idx="22">
                  <c:v>3</c:v>
                </c:pt>
                <c:pt idx="23">
                  <c:v>3</c:v>
                </c:pt>
                <c:pt idx="24">
                  <c:v>3</c:v>
                </c:pt>
              </c:numCache>
            </c:numRef>
          </c:val>
          <c:smooth val="0"/>
          <c:extLst>
            <c:ext xmlns:c16="http://schemas.microsoft.com/office/drawing/2014/chart" uri="{C3380CC4-5D6E-409C-BE32-E72D297353CC}">
              <c16:uniqueId val="{00000003-C0BD-426C-AC55-A1ED62A912D4}"/>
            </c:ext>
          </c:extLst>
        </c:ser>
        <c:dLbls>
          <c:showLegendKey val="0"/>
          <c:showVal val="0"/>
          <c:showCatName val="0"/>
          <c:showSerName val="0"/>
          <c:showPercent val="0"/>
          <c:showBubbleSize val="0"/>
        </c:dLbls>
        <c:marker val="1"/>
        <c:smooth val="0"/>
        <c:axId val="488660200"/>
        <c:axId val="488652328"/>
      </c:lineChart>
      <c:catAx>
        <c:axId val="488660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52328"/>
        <c:crosses val="autoZero"/>
        <c:auto val="1"/>
        <c:lblAlgn val="ctr"/>
        <c:lblOffset val="100"/>
        <c:noMultiLvlLbl val="0"/>
      </c:catAx>
      <c:valAx>
        <c:axId val="488652328"/>
        <c:scaling>
          <c:orientation val="minMax"/>
          <c:max val="1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602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lærekontrakter per 1000 innbyggere, privat sektor, 11.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08.11.24_privat_sektor'!$I$3</c:f>
              <c:strCache>
                <c:ptCount val="1"/>
                <c:pt idx="0">
                  <c:v>Antall kontrakter per 1000 innbyggere</c:v>
                </c:pt>
              </c:strCache>
            </c:strRef>
          </c:tx>
          <c:spPr>
            <a:solidFill>
              <a:srgbClr val="002060"/>
            </a:solidFill>
            <a:ln>
              <a:noFill/>
            </a:ln>
            <a:effectLst/>
          </c:spPr>
          <c:invertIfNegative val="0"/>
          <c:dPt>
            <c:idx val="11"/>
            <c:invertIfNegative val="0"/>
            <c:bubble3D val="0"/>
            <c:spPr>
              <a:solidFill>
                <a:srgbClr val="00B0F0"/>
              </a:solidFill>
              <a:ln>
                <a:noFill/>
              </a:ln>
              <a:effectLst/>
            </c:spPr>
            <c:extLst>
              <c:ext xmlns:c16="http://schemas.microsoft.com/office/drawing/2014/chart" uri="{C3380CC4-5D6E-409C-BE32-E72D297353CC}">
                <c16:uniqueId val="{00000001-9FB1-4446-B81D-FC753DD22B81}"/>
              </c:ext>
            </c:extLst>
          </c:dPt>
          <c:dPt>
            <c:idx val="16"/>
            <c:invertIfNegative val="0"/>
            <c:bubble3D val="0"/>
            <c:spPr>
              <a:solidFill>
                <a:srgbClr val="FFC000"/>
              </a:solidFill>
              <a:ln>
                <a:noFill/>
              </a:ln>
              <a:effectLst/>
            </c:spPr>
            <c:extLst>
              <c:ext xmlns:c16="http://schemas.microsoft.com/office/drawing/2014/chart" uri="{C3380CC4-5D6E-409C-BE32-E72D297353CC}">
                <c16:uniqueId val="{00000003-9FB1-4446-B81D-FC753DD22B81}"/>
              </c:ext>
            </c:extLst>
          </c:dPt>
          <c:cat>
            <c:strRef>
              <c:f>'[Lærekontrakter_180923.xlsx]08.11.24_privat_sektor'!$H$4:$H$29</c:f>
              <c:strCache>
                <c:ptCount val="26"/>
                <c:pt idx="0">
                  <c:v>Iveland</c:v>
                </c:pt>
                <c:pt idx="1">
                  <c:v>Vegårshei</c:v>
                </c:pt>
                <c:pt idx="2">
                  <c:v>Åseral</c:v>
                </c:pt>
                <c:pt idx="3">
                  <c:v>Gjerstad</c:v>
                </c:pt>
                <c:pt idx="4">
                  <c:v>Sirdal</c:v>
                </c:pt>
                <c:pt idx="5">
                  <c:v>Vennesla</c:v>
                </c:pt>
                <c:pt idx="6">
                  <c:v>Lillesand</c:v>
                </c:pt>
                <c:pt idx="7">
                  <c:v>Bygland</c:v>
                </c:pt>
                <c:pt idx="8">
                  <c:v>Evje og Hornnes</c:v>
                </c:pt>
                <c:pt idx="9">
                  <c:v>Åmli</c:v>
                </c:pt>
                <c:pt idx="10">
                  <c:v>Arendal</c:v>
                </c:pt>
                <c:pt idx="11">
                  <c:v>Tvedestrand</c:v>
                </c:pt>
                <c:pt idx="12">
                  <c:v>Birkenes</c:v>
                </c:pt>
                <c:pt idx="13">
                  <c:v>Kvinesdal</c:v>
                </c:pt>
                <c:pt idx="14">
                  <c:v>Risør</c:v>
                </c:pt>
                <c:pt idx="15">
                  <c:v>Grimstad</c:v>
                </c:pt>
                <c:pt idx="16">
                  <c:v>Agder</c:v>
                </c:pt>
                <c:pt idx="17">
                  <c:v>Lindesnes</c:v>
                </c:pt>
                <c:pt idx="18">
                  <c:v>Lyngdal</c:v>
                </c:pt>
                <c:pt idx="19">
                  <c:v>Froland</c:v>
                </c:pt>
                <c:pt idx="20">
                  <c:v>Bykle</c:v>
                </c:pt>
                <c:pt idx="21">
                  <c:v>Valle</c:v>
                </c:pt>
                <c:pt idx="22">
                  <c:v>Hægebostad</c:v>
                </c:pt>
                <c:pt idx="23">
                  <c:v>Kristiansand</c:v>
                </c:pt>
                <c:pt idx="24">
                  <c:v>Farsund</c:v>
                </c:pt>
                <c:pt idx="25">
                  <c:v>Flekkefjord</c:v>
                </c:pt>
              </c:strCache>
            </c:strRef>
          </c:cat>
          <c:val>
            <c:numRef>
              <c:f>'[Lærekontrakter_180923.xlsx]08.11.24_privat_sektor'!$I$4:$I$29</c:f>
              <c:numCache>
                <c:formatCode>0</c:formatCode>
                <c:ptCount val="26"/>
                <c:pt idx="0">
                  <c:v>2.1739130434782608</c:v>
                </c:pt>
                <c:pt idx="1">
                  <c:v>2.204585537918871</c:v>
                </c:pt>
                <c:pt idx="2">
                  <c:v>3.2502708559046587</c:v>
                </c:pt>
                <c:pt idx="3">
                  <c:v>4.5008183306055649</c:v>
                </c:pt>
                <c:pt idx="4">
                  <c:v>5.3390282968499738</c:v>
                </c:pt>
                <c:pt idx="5">
                  <c:v>6.5363706963499872</c:v>
                </c:pt>
                <c:pt idx="6">
                  <c:v>6.5955046428881374</c:v>
                </c:pt>
                <c:pt idx="7">
                  <c:v>6.7796610169491522</c:v>
                </c:pt>
                <c:pt idx="8">
                  <c:v>7.0582304008066545</c:v>
                </c:pt>
                <c:pt idx="9">
                  <c:v>7.2142064372918977</c:v>
                </c:pt>
                <c:pt idx="10">
                  <c:v>7.226836371480962</c:v>
                </c:pt>
                <c:pt idx="11">
                  <c:v>7.4331804523169387</c:v>
                </c:pt>
                <c:pt idx="12">
                  <c:v>7.4817518248175183</c:v>
                </c:pt>
                <c:pt idx="13">
                  <c:v>7.7519379844961236</c:v>
                </c:pt>
                <c:pt idx="14">
                  <c:v>8.4981684981684982</c:v>
                </c:pt>
                <c:pt idx="15">
                  <c:v>8.6106772397773241</c:v>
                </c:pt>
                <c:pt idx="16">
                  <c:v>8.7978740034391123</c:v>
                </c:pt>
                <c:pt idx="17">
                  <c:v>8.8222878851836217</c:v>
                </c:pt>
                <c:pt idx="18">
                  <c:v>9.6908167974157831</c:v>
                </c:pt>
                <c:pt idx="19">
                  <c:v>9.7819114817190513</c:v>
                </c:pt>
                <c:pt idx="20">
                  <c:v>9.8911968348170127</c:v>
                </c:pt>
                <c:pt idx="21">
                  <c:v>9.9585062240663902</c:v>
                </c:pt>
                <c:pt idx="22">
                  <c:v>10.135135135135135</c:v>
                </c:pt>
                <c:pt idx="23">
                  <c:v>10.146513257996684</c:v>
                </c:pt>
                <c:pt idx="24">
                  <c:v>10.935601458080194</c:v>
                </c:pt>
                <c:pt idx="25">
                  <c:v>10.992563853863563</c:v>
                </c:pt>
              </c:numCache>
            </c:numRef>
          </c:val>
          <c:extLst>
            <c:ext xmlns:c16="http://schemas.microsoft.com/office/drawing/2014/chart" uri="{C3380CC4-5D6E-409C-BE32-E72D297353CC}">
              <c16:uniqueId val="{00000004-9FB1-4446-B81D-FC753DD22B81}"/>
            </c:ext>
          </c:extLst>
        </c:ser>
        <c:dLbls>
          <c:showLegendKey val="0"/>
          <c:showVal val="0"/>
          <c:showCatName val="0"/>
          <c:showSerName val="0"/>
          <c:showPercent val="0"/>
          <c:showBubbleSize val="0"/>
        </c:dLbls>
        <c:gapWidth val="219"/>
        <c:overlap val="-27"/>
        <c:axId val="1308991968"/>
        <c:axId val="1308990528"/>
      </c:barChart>
      <c:catAx>
        <c:axId val="1308991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308990528"/>
        <c:crosses val="autoZero"/>
        <c:auto val="1"/>
        <c:lblAlgn val="ctr"/>
        <c:lblOffset val="100"/>
        <c:noMultiLvlLbl val="0"/>
      </c:catAx>
      <c:valAx>
        <c:axId val="13089905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308991968"/>
        <c:crosses val="autoZero"/>
        <c:crossBetween val="between"/>
      </c:valAx>
      <c:spPr>
        <a:noFill/>
        <a:ln>
          <a:noFill/>
        </a:ln>
        <a:effectLst/>
      </c:spPr>
    </c:plotArea>
    <c:plotVisOnly val="1"/>
    <c:dispBlanksAs val="gap"/>
    <c:showDLblsOverMax val="0"/>
  </c:chart>
  <c:spPr>
    <a:solidFill>
      <a:schemeClr val="bg1"/>
    </a:solidFill>
    <a:ln w="9525" cap="flat" cmpd="sng" algn="ctr">
      <a:solidFill>
        <a:sysClr val="windowText" lastClr="000000"/>
      </a:solidFill>
      <a:round/>
    </a:ln>
    <a:effectLst/>
  </c:spPr>
  <c:txPr>
    <a:bodyPr/>
    <a:lstStyle/>
    <a:p>
      <a:pPr>
        <a:defRPr/>
      </a:pPr>
      <a:endParaRPr lang="nb-NO"/>
    </a:p>
  </c:txPr>
  <c:externalData r:id="rId4">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ektorfordelt_sysselsetting_tabell_13472_13470.xlsx]Pivot 2023'!$D$4:$D$19</cx:f>
        <cx:lvl ptCount="16">
          <cx:pt idx="0">01-03 Jordbruk, skogbruk og fiske</cx:pt>
          <cx:pt idx="1">05-09 Bergverksdrift og utvinning</cx:pt>
          <cx:pt idx="2">10-33 Industri</cx:pt>
          <cx:pt idx="3">35-39 Elektrisitet, vann og renovasjon</cx:pt>
          <cx:pt idx="4">41-43 Bygge- og anleggsvirksomhet</cx:pt>
          <cx:pt idx="5">45-47 Varehandel, reparasjon av motorvogner</cx:pt>
          <cx:pt idx="6">49-53 Transport og lagring</cx:pt>
          <cx:pt idx="7">55-56 Overnattings- og serveringsvirksomhet</cx:pt>
          <cx:pt idx="8">58-63 Informasjon og kommunikasjon</cx:pt>
          <cx:pt idx="9">64-66 Finansiering og forsikring</cx:pt>
          <cx:pt idx="10">68-75 Teknisk tjenesteyting, eiendomsdrift</cx:pt>
          <cx:pt idx="11">77-82 Forretningsmessig tjenesteyting</cx:pt>
          <cx:pt idx="12">84 Off.adm., forsvar, sosialforsikring</cx:pt>
          <cx:pt idx="13">85 Undervisning</cx:pt>
          <cx:pt idx="14">86-88 Helse- og sosialtjenester</cx:pt>
          <cx:pt idx="15">90-99 Personlig tjenesteyting</cx:pt>
        </cx:lvl>
      </cx:strDim>
      <cx:numDim type="size">
        <cx:f>'[Sektorfordelt_sysselsetting_tabell_13472_13470.xlsx]Pivot 2023'!$E$4:$E$19</cx:f>
        <cx:lvl ptCount="16" formatCode="# ##0">
          <cx:pt idx="0">53</cx:pt>
          <cx:pt idx="1">7</cx:pt>
          <cx:pt idx="2">221</cx:pt>
          <cx:pt idx="3">10</cx:pt>
          <cx:pt idx="4">219</cx:pt>
          <cx:pt idx="5">332</cx:pt>
          <cx:pt idx="6">101</cx:pt>
          <cx:pt idx="7">50</cx:pt>
          <cx:pt idx="8">12</cx:pt>
          <cx:pt idx="9">6</cx:pt>
          <cx:pt idx="10">109</cx:pt>
          <cx:pt idx="11">88</cx:pt>
          <cx:pt idx="12">85</cx:pt>
          <cx:pt idx="13">350</cx:pt>
          <cx:pt idx="14">621</cx:pt>
          <cx:pt idx="15">96</cx:pt>
        </cx:lvl>
      </cx:numDim>
    </cx:data>
  </cx:chartData>
  <cx:chart>
    <cx:plotArea>
      <cx:plotAreaRegion>
        <cx:series layoutId="treemap" uniqueId="{DFD13C0B-3AF2-427D-AA18-6545C6E0104E}">
          <cx:dataLabels pos="inEnd">
            <cx:visibility seriesName="0" categoryName="1" value="0"/>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EE73C5-C997-499E-A546-ACB60DEDD833}" type="datetimeFigureOut">
              <a:rPr lang="nb-NO" smtClean="0"/>
              <a:t>16.12.2024</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BD18A2-FE98-4292-85DF-71FBFE3CE1A8}" type="slidenum">
              <a:rPr lang="nb-NO" smtClean="0"/>
              <a:t>‹#›</a:t>
            </a:fld>
            <a:endParaRPr lang="nb-NO"/>
          </a:p>
        </p:txBody>
      </p:sp>
    </p:spTree>
    <p:extLst>
      <p:ext uri="{BB962C8B-B14F-4D97-AF65-F5344CB8AC3E}">
        <p14:creationId xmlns:p14="http://schemas.microsoft.com/office/powerpoint/2010/main" val="14989659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Tvedestrand samlet for hele befolkningen: 40,6 år (SSB – 2024)</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Agder: alle 40,7</a:t>
            </a:r>
            <a:r>
              <a:rPr lang="nb-NO" sz="1200" baseline="0" dirty="0">
                <a:solidFill>
                  <a:schemeClr val="tx1"/>
                </a:solidFill>
              </a:rPr>
              <a:t> – menn 40,0 – kvinner 41,4 </a:t>
            </a:r>
            <a:r>
              <a:rPr lang="nb-NO" sz="1200" dirty="0">
                <a:solidFill>
                  <a:schemeClr val="tx1"/>
                </a:solidFill>
              </a:rPr>
              <a:t>(SSB – 2024)</a:t>
            </a:r>
            <a:endParaRPr lang="nb-NO" sz="1200" baseline="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Norge: alle 40,8</a:t>
            </a:r>
            <a:r>
              <a:rPr lang="nb-NO" sz="1200" baseline="0" dirty="0">
                <a:solidFill>
                  <a:schemeClr val="tx1"/>
                </a:solidFill>
              </a:rPr>
              <a:t> – menn 40,2 – kvinner 41,5 </a:t>
            </a:r>
            <a:r>
              <a:rPr lang="nb-NO" sz="1200" dirty="0">
                <a:solidFill>
                  <a:schemeClr val="tx1"/>
                </a:solidFill>
              </a:rPr>
              <a:t>(SSB – 2024)</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Forventa levealder Agder: menn 79,9</a:t>
            </a:r>
            <a:r>
              <a:rPr lang="nn-NO" sz="1200" baseline="0" noProof="0" dirty="0">
                <a:solidFill>
                  <a:schemeClr val="tx1"/>
                </a:solidFill>
              </a:rPr>
              <a:t> - kvinner </a:t>
            </a:r>
            <a:r>
              <a:rPr lang="nn-NO" sz="1200" noProof="0" dirty="0">
                <a:solidFill>
                  <a:schemeClr val="tx1"/>
                </a:solidFill>
              </a:rPr>
              <a:t>83,8 (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Forventet levealder </a:t>
            </a:r>
            <a:r>
              <a:rPr lang="nb-NO" dirty="0"/>
              <a:t>Norge: menn 80,3</a:t>
            </a:r>
            <a:r>
              <a:rPr lang="nb-NO" baseline="0" dirty="0"/>
              <a:t> -</a:t>
            </a:r>
            <a:r>
              <a:rPr lang="nb-NO" dirty="0"/>
              <a:t> kvinner 84,0 </a:t>
            </a:r>
            <a:r>
              <a:rPr lang="nn-NO" sz="1200" noProof="0" dirty="0">
                <a:solidFill>
                  <a:schemeClr val="tx1"/>
                </a:solidFill>
              </a:rPr>
              <a:t>(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Alle areal tall (2024), </a:t>
            </a:r>
            <a:r>
              <a:rPr lang="nn-NO" sz="1200" noProof="0" dirty="0" err="1">
                <a:solidFill>
                  <a:schemeClr val="tx1"/>
                </a:solidFill>
              </a:rPr>
              <a:t>Folketall</a:t>
            </a:r>
            <a:r>
              <a:rPr lang="nn-NO" sz="1200" noProof="0" dirty="0">
                <a:solidFill>
                  <a:schemeClr val="tx1"/>
                </a:solidFill>
              </a:rPr>
              <a:t> (2024), </a:t>
            </a:r>
            <a:r>
              <a:rPr lang="nn-NO" sz="1200" noProof="0" dirty="0" err="1">
                <a:solidFill>
                  <a:schemeClr val="tx1"/>
                </a:solidFill>
              </a:rPr>
              <a:t>Andel</a:t>
            </a:r>
            <a:r>
              <a:rPr lang="nn-NO" sz="1200" baseline="0" noProof="0" dirty="0">
                <a:solidFill>
                  <a:schemeClr val="tx1"/>
                </a:solidFill>
              </a:rPr>
              <a:t> kvinner (2024), </a:t>
            </a:r>
            <a:r>
              <a:rPr lang="nn-NO" sz="1200" baseline="0" noProof="0" dirty="0" err="1">
                <a:solidFill>
                  <a:schemeClr val="tx1"/>
                </a:solidFill>
              </a:rPr>
              <a:t>Andel</a:t>
            </a:r>
            <a:r>
              <a:rPr lang="nn-NO" sz="1200" baseline="0" noProof="0" dirty="0">
                <a:solidFill>
                  <a:schemeClr val="tx1"/>
                </a:solidFill>
              </a:rPr>
              <a:t> i </a:t>
            </a:r>
            <a:r>
              <a:rPr lang="nn-NO" sz="1200" baseline="0" noProof="0" dirty="0" err="1">
                <a:solidFill>
                  <a:schemeClr val="tx1"/>
                </a:solidFill>
              </a:rPr>
              <a:t>tettsted</a:t>
            </a:r>
            <a:r>
              <a:rPr lang="nn-NO" sz="1200" baseline="0" noProof="0" dirty="0">
                <a:solidFill>
                  <a:schemeClr val="tx1"/>
                </a:solidFill>
              </a:rPr>
              <a:t> (2023), </a:t>
            </a:r>
            <a:r>
              <a:rPr lang="nn-NO" sz="1200" baseline="0" noProof="0" dirty="0" err="1">
                <a:solidFill>
                  <a:schemeClr val="tx1"/>
                </a:solidFill>
              </a:rPr>
              <a:t>Personer</a:t>
            </a:r>
            <a:r>
              <a:rPr lang="nn-NO" sz="1200" baseline="0" noProof="0" dirty="0">
                <a:solidFill>
                  <a:schemeClr val="tx1"/>
                </a:solidFill>
              </a:rPr>
              <a:t> per </a:t>
            </a:r>
            <a:r>
              <a:rPr lang="nn-NO" sz="1200" baseline="0" noProof="0" dirty="0" err="1">
                <a:solidFill>
                  <a:schemeClr val="tx1"/>
                </a:solidFill>
              </a:rPr>
              <a:t>husholdning</a:t>
            </a:r>
            <a:r>
              <a:rPr lang="nn-NO" sz="1200" baseline="0" noProof="0" dirty="0">
                <a:solidFill>
                  <a:schemeClr val="tx1"/>
                </a:solidFill>
              </a:rPr>
              <a:t> (2023), </a:t>
            </a:r>
            <a:r>
              <a:rPr lang="nn-NO" sz="1200" baseline="0" noProof="0" dirty="0" err="1">
                <a:solidFill>
                  <a:schemeClr val="tx1"/>
                </a:solidFill>
              </a:rPr>
              <a:t>Elevtall</a:t>
            </a:r>
            <a:r>
              <a:rPr lang="nn-NO" sz="1200" baseline="0" noProof="0" dirty="0">
                <a:solidFill>
                  <a:schemeClr val="tx1"/>
                </a:solidFill>
              </a:rPr>
              <a:t> (2023-24), Distriktsindeks (2023).</a:t>
            </a: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a:t>
            </a:fld>
            <a:endParaRPr lang="nb-NO"/>
          </a:p>
        </p:txBody>
      </p:sp>
    </p:spTree>
    <p:extLst>
      <p:ext uri="{BB962C8B-B14F-4D97-AF65-F5344CB8AC3E}">
        <p14:creationId xmlns:p14="http://schemas.microsoft.com/office/powerpoint/2010/main" val="39061284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b="0" dirty="0"/>
              <a:t>2024 – 8. november – Agder – Alle sektorer 3494- privat sektor 2814 - kommunal sektor 680</a:t>
            </a:r>
          </a:p>
          <a:p>
            <a:r>
              <a:rPr lang="nb-NO" b="0" dirty="0"/>
              <a:t>2023 – 18. september – Agder – Alle sektorer 3519 - privat sektor 2841 - kommunal sektor 678</a:t>
            </a:r>
          </a:p>
          <a:p>
            <a:r>
              <a:rPr lang="nb-NO" b="0" dirty="0"/>
              <a:t>2022 – 9. september – Agder – Alle</a:t>
            </a:r>
            <a:r>
              <a:rPr lang="nb-NO" b="0" baseline="0" dirty="0"/>
              <a:t> sektorer 3406 – privat sektor 2615 – kommunal sektor 652</a:t>
            </a:r>
            <a:endParaRPr lang="nb-NO" b="0" dirty="0"/>
          </a:p>
          <a:p>
            <a:r>
              <a:rPr lang="nb-NO" b="0" dirty="0"/>
              <a:t>2021 – september - Agder </a:t>
            </a:r>
            <a:r>
              <a:rPr lang="nb-NO" dirty="0"/>
              <a:t>– </a:t>
            </a:r>
            <a:r>
              <a:rPr lang="nb-NO" b="0" dirty="0"/>
              <a:t>Alle sektorer </a:t>
            </a:r>
            <a:r>
              <a:rPr lang="nb-NO" dirty="0"/>
              <a:t>3333 </a:t>
            </a:r>
            <a:r>
              <a:rPr lang="nb-NO" b="0" dirty="0"/>
              <a:t>– </a:t>
            </a:r>
            <a:r>
              <a:rPr lang="nb-NO" dirty="0"/>
              <a:t>privat </a:t>
            </a:r>
            <a:r>
              <a:rPr lang="nb-NO" b="0" dirty="0"/>
              <a:t>sektor </a:t>
            </a:r>
            <a:r>
              <a:rPr lang="nb-NO" dirty="0"/>
              <a:t>2525 – kommunal sektor 725</a:t>
            </a:r>
            <a:endParaRPr lang="nb-NO" b="0" dirty="0"/>
          </a:p>
          <a:p>
            <a:pPr>
              <a:defRPr/>
            </a:pPr>
            <a:r>
              <a:rPr lang="nb-NO" b="0" dirty="0"/>
              <a:t>2020 – Agder - Alle sektorer 2896 – kommunal sektor 710</a:t>
            </a:r>
            <a:endParaRPr lang="nb-NO" dirty="0"/>
          </a:p>
          <a:p>
            <a:pPr>
              <a:defRPr/>
            </a:pPr>
            <a:r>
              <a:rPr lang="nb-NO" dirty="0"/>
              <a:t>2019 – Agder - Alle sektorer 2949 – kommunal sektor 734</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14</a:t>
            </a:fld>
            <a:endParaRPr lang="nb-NO"/>
          </a:p>
        </p:txBody>
      </p:sp>
    </p:spTree>
    <p:extLst>
      <p:ext uri="{BB962C8B-B14F-4D97-AF65-F5344CB8AC3E}">
        <p14:creationId xmlns:p14="http://schemas.microsoft.com/office/powerpoint/2010/main" val="33499341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Undersøkelser viser at ca. 75% av de som arbeider deltid ønsker dette, men hvorfor er deltidsandelen blant kvinner i Agder så utrolig mye høyere enn i resten av landet? Flere teori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Næringsstruktur kan være en av grunnene. Mange av kommunene med høy deltidsandel har et ensidig næringsliv preget av tradisjonelt mannsdominerte yrker og få kompetansearbeidsplasser. «Tilgjengelig» arbeid kan ofte være yrker preget av høy deltidsandel Salgs- og service, helse- omsorg, renhold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Deltidsandelen er på vei ned i både Agder og Nor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1" dirty="0">
                <a:solidFill>
                  <a:schemeClr val="bg2">
                    <a:lumMod val="10000"/>
                  </a:schemeClr>
                </a:solidFill>
              </a:rPr>
              <a:t>Det er kun Bykle</a:t>
            </a:r>
            <a:r>
              <a:rPr lang="nb-NO" sz="1200" dirty="0">
                <a:solidFill>
                  <a:schemeClr val="bg2">
                    <a:lumMod val="10000"/>
                  </a:schemeClr>
                </a:solidFill>
              </a:rPr>
              <a:t> av kommunene på Agder som har lavere deltidsandel blant kvinner enn landsgjennomsnittet.</a:t>
            </a:r>
          </a:p>
          <a:p>
            <a:endParaRPr lang="nb-NO" dirty="0"/>
          </a:p>
        </p:txBody>
      </p:sp>
      <p:sp>
        <p:nvSpPr>
          <p:cNvPr id="4" name="Plassholder for dato 3"/>
          <p:cNvSpPr>
            <a:spLocks noGrp="1"/>
          </p:cNvSpPr>
          <p:nvPr>
            <p:ph type="dt"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231367-9176-9A4A-8565-58EECFF9F5C0}" type="datetime1">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12.2024</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Plassholder for bunnteks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Plassholder for lysbilde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4F1C72-229D-B04D-8A87-850C097B6329}" type="slidenum">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Plassholder for topptekst 6"/>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01182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Alder</a:t>
            </a:r>
            <a:r>
              <a:rPr lang="nb-NO" baseline="0" dirty="0"/>
              <a:t> 20-66 år</a:t>
            </a:r>
          </a:p>
          <a:p>
            <a:pPr marL="171450" indent="-171450">
              <a:buFont typeface="Arial" panose="020B0604020202020204" pitchFamily="34" charset="0"/>
              <a:buChar char="•"/>
            </a:pPr>
            <a:r>
              <a:rPr lang="nb-NO" dirty="0"/>
              <a:t>Gjennomsnittlig sysselsettingsandel for innvandrere gruppe</a:t>
            </a:r>
            <a:r>
              <a:rPr lang="nb-NO" baseline="0" dirty="0"/>
              <a:t> 2 - 2023: </a:t>
            </a:r>
          </a:p>
          <a:p>
            <a:pPr marL="628650" lvl="1" indent="-171450">
              <a:buFont typeface="Arial" panose="020B0604020202020204" pitchFamily="34" charset="0"/>
              <a:buChar char="•"/>
            </a:pPr>
            <a:r>
              <a:rPr lang="nb-NO" baseline="0" dirty="0"/>
              <a:t>Agder - Begge kjønn: 54,9 %, Kvinner: 50,9 %, Menn: 59,6 %.</a:t>
            </a:r>
          </a:p>
          <a:p>
            <a:pPr marL="628650" lvl="1" indent="-171450">
              <a:buFont typeface="Arial" panose="020B0604020202020204" pitchFamily="34" charset="0"/>
              <a:buChar char="•"/>
            </a:pPr>
            <a:r>
              <a:rPr lang="nb-NO" baseline="0" dirty="0"/>
              <a:t>Norge - Begge kjønn: 61,4 %, Kvinner: 57,5 %, Menn: 66,0 %.</a:t>
            </a:r>
          </a:p>
          <a:p>
            <a:endParaRPr lang="nb-NO" dirty="0"/>
          </a:p>
          <a:p>
            <a:r>
              <a:rPr lang="nb-NO" dirty="0"/>
              <a:t>Kilde: SSB tabell 11607.</a:t>
            </a:r>
          </a:p>
        </p:txBody>
      </p:sp>
      <p:sp>
        <p:nvSpPr>
          <p:cNvPr id="4" name="Plassholder for lysbildenummer 3"/>
          <p:cNvSpPr>
            <a:spLocks noGrp="1"/>
          </p:cNvSpPr>
          <p:nvPr>
            <p:ph type="sldNum" sz="quarter" idx="10"/>
          </p:nvPr>
        </p:nvSpPr>
        <p:spPr/>
        <p:txBody>
          <a:bodyPr/>
          <a:lstStyle/>
          <a:p>
            <a:fld id="{B2CC8289-409C-4406-9AD1-41EDEE854A6D}" type="slidenum">
              <a:rPr lang="nb-NO" smtClean="0"/>
              <a:t>16</a:t>
            </a:fld>
            <a:endParaRPr lang="nb-NO"/>
          </a:p>
        </p:txBody>
      </p:sp>
    </p:spTree>
    <p:extLst>
      <p:ext uri="{BB962C8B-B14F-4D97-AF65-F5344CB8AC3E}">
        <p14:creationId xmlns:p14="http://schemas.microsoft.com/office/powerpoint/2010/main" val="6348196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b="1" i="0" kern="1200" dirty="0">
                <a:solidFill>
                  <a:schemeClr val="tx1"/>
                </a:solidFill>
                <a:effectLst/>
                <a:latin typeface="+mn-lt"/>
                <a:ea typeface="+mn-ea"/>
                <a:cs typeface="+mn-cs"/>
              </a:rPr>
              <a:t>FHI</a:t>
            </a:r>
            <a:r>
              <a:rPr lang="nb-NO" sz="1200" b="0" i="0" kern="1200" dirty="0">
                <a:solidFill>
                  <a:schemeClr val="tx1"/>
                </a:solidFill>
                <a:effectLst/>
                <a:latin typeface="+mn-lt"/>
                <a:ea typeface="+mn-ea"/>
                <a:cs typeface="+mn-cs"/>
              </a:rPr>
              <a:t> - Barn som bor i husholdninger med inntekt under 60 % av nasjonal medianinntekt over en treårsperiode, beregnet etter EU-skala. Vedvarende lavinntekt er beregnet ved å slå sammen inntektene til husholdningen over en treårsperiode, og dele denne summen på 3. Dette er den gjennomsnittlige husholdningsinntekten i treårsperioden.</a:t>
            </a:r>
            <a:endParaRPr lang="nb-NO" dirty="0"/>
          </a:p>
          <a:p>
            <a:endParaRPr lang="nb-NO" dirty="0"/>
          </a:p>
          <a:p>
            <a:r>
              <a:rPr lang="nb-NO" dirty="0"/>
              <a:t>Kilde: Folkehelseinstituttet,</a:t>
            </a:r>
            <a:r>
              <a:rPr lang="nb-NO" baseline="0" dirty="0"/>
              <a:t> kommunehelsa.</a:t>
            </a:r>
            <a:endParaRPr lang="nb-NO" dirty="0"/>
          </a:p>
        </p:txBody>
      </p:sp>
      <p:sp>
        <p:nvSpPr>
          <p:cNvPr id="4" name="Plassholder for lysbildenummer 3"/>
          <p:cNvSpPr>
            <a:spLocks noGrp="1"/>
          </p:cNvSpPr>
          <p:nvPr>
            <p:ph type="sldNum" sz="quarter" idx="10"/>
          </p:nvPr>
        </p:nvSpPr>
        <p:spPr/>
        <p:txBody>
          <a:bodyPr/>
          <a:lstStyle/>
          <a:p>
            <a:fld id="{B2CC8289-409C-4406-9AD1-41EDEE854A6D}" type="slidenum">
              <a:rPr lang="nb-NO" smtClean="0"/>
              <a:t>17</a:t>
            </a:fld>
            <a:endParaRPr lang="nb-NO"/>
          </a:p>
        </p:txBody>
      </p:sp>
    </p:spTree>
    <p:extLst>
      <p:ext uri="{BB962C8B-B14F-4D97-AF65-F5344CB8AC3E}">
        <p14:creationId xmlns:p14="http://schemas.microsoft.com/office/powerpoint/2010/main" val="15805031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Font typeface="Arial" panose="020B0604020202020204" pitchFamily="34" charset="0"/>
              <a:buNone/>
            </a:pPr>
            <a:r>
              <a:rPr lang="nb-NO" dirty="0"/>
              <a:t>Blant 5 åringer har det vært en markant nedgang i tenner med karies. </a:t>
            </a:r>
          </a:p>
        </p:txBody>
      </p:sp>
      <p:sp>
        <p:nvSpPr>
          <p:cNvPr id="4" name="Plassholder for lysbildenummer 3"/>
          <p:cNvSpPr>
            <a:spLocks noGrp="1"/>
          </p:cNvSpPr>
          <p:nvPr>
            <p:ph type="sldNum" sz="quarter" idx="10"/>
          </p:nvPr>
        </p:nvSpPr>
        <p:spPr/>
        <p:txBody>
          <a:bodyPr/>
          <a:lstStyle/>
          <a:p>
            <a:fld id="{B2CC8289-409C-4406-9AD1-41EDEE854A6D}" type="slidenum">
              <a:rPr lang="nb-NO" smtClean="0"/>
              <a:t>18</a:t>
            </a:fld>
            <a:endParaRPr lang="nb-NO"/>
          </a:p>
        </p:txBody>
      </p:sp>
    </p:spTree>
    <p:extLst>
      <p:ext uri="{BB962C8B-B14F-4D97-AF65-F5344CB8AC3E}">
        <p14:creationId xmlns:p14="http://schemas.microsoft.com/office/powerpoint/2010/main" val="8329449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9</a:t>
            </a:fld>
            <a:endParaRPr lang="nb-NO"/>
          </a:p>
        </p:txBody>
      </p:sp>
    </p:spTree>
    <p:extLst>
      <p:ext uri="{BB962C8B-B14F-4D97-AF65-F5344CB8AC3E}">
        <p14:creationId xmlns:p14="http://schemas.microsoft.com/office/powerpoint/2010/main" val="6513557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dirty="0"/>
              <a:t>Det vi har gjort her, er å anvende nasjonal referansebane til å beregne referansebane</a:t>
            </a:r>
            <a:r>
              <a:rPr lang="nb-NO" sz="1200" baseline="0" dirty="0"/>
              <a:t> per sektor og kommune i Agder frem mot 2030.</a:t>
            </a:r>
          </a:p>
          <a:p>
            <a:r>
              <a:rPr lang="nb-NO" sz="1200" baseline="0" dirty="0"/>
              <a:t>- Nasjonal referansebane beregnes med utgangspunkt i vedtatt nasjonal politikk.</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0</a:t>
            </a:fld>
            <a:endParaRPr lang="nb-NO"/>
          </a:p>
        </p:txBody>
      </p:sp>
    </p:spTree>
    <p:extLst>
      <p:ext uri="{BB962C8B-B14F-4D97-AF65-F5344CB8AC3E}">
        <p14:creationId xmlns:p14="http://schemas.microsoft.com/office/powerpoint/2010/main" val="19486413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NB: Luftfart og kvotepliktig industri er ikke inkludert i beregningene.</a:t>
            </a:r>
          </a:p>
          <a:p>
            <a:pPr marL="0" marR="0" lvl="0" indent="0" algn="l" defTabSz="914400" rtl="0" eaLnBrk="1" fontAlgn="auto" latinLnBrk="0" hangingPunct="1">
              <a:lnSpc>
                <a:spcPct val="100000"/>
              </a:lnSpc>
              <a:spcBef>
                <a:spcPts val="0"/>
              </a:spcBef>
              <a:spcAft>
                <a:spcPts val="0"/>
              </a:spcAft>
              <a:buClrTx/>
              <a:buSzTx/>
              <a:buFontTx/>
              <a:buNone/>
              <a:tabLst/>
              <a:defRPr/>
            </a:pPr>
            <a:r>
              <a:rPr lang="nb-NO" baseline="0" dirty="0"/>
              <a:t>-</a:t>
            </a:r>
            <a:r>
              <a:rPr lang="nb-NO" dirty="0"/>
              <a:t> Statistikk er for 2022.</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1</a:t>
            </a:fld>
            <a:endParaRPr lang="nb-NO"/>
          </a:p>
        </p:txBody>
      </p:sp>
    </p:spTree>
    <p:extLst>
      <p:ext uri="{BB962C8B-B14F-4D97-AF65-F5344CB8AC3E}">
        <p14:creationId xmlns:p14="http://schemas.microsoft.com/office/powerpoint/2010/main" val="18765035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 Transport og annen mobil forbrenning inkl.:</a:t>
            </a:r>
            <a:r>
              <a:rPr lang="nb-NO" baseline="0" dirty="0"/>
              <a:t> veitrafikk, sjøfart og annen mobil forbrenning.</a:t>
            </a:r>
          </a:p>
          <a:p>
            <a:pPr marL="0" marR="0" lvl="0" indent="0" algn="l" defTabSz="914400" rtl="0" eaLnBrk="1" fontAlgn="auto" latinLnBrk="0" hangingPunct="1">
              <a:lnSpc>
                <a:spcPct val="100000"/>
              </a:lnSpc>
              <a:spcBef>
                <a:spcPts val="0"/>
              </a:spcBef>
              <a:spcAft>
                <a:spcPts val="0"/>
              </a:spcAft>
              <a:buClrTx/>
              <a:buSzTx/>
              <a:buFontTx/>
              <a:buNone/>
              <a:tabLst/>
              <a:defRPr/>
            </a:pPr>
            <a:r>
              <a:rPr lang="nb-NO" baseline="0" dirty="0"/>
              <a:t>-</a:t>
            </a:r>
            <a:r>
              <a:rPr lang="nb-NO" dirty="0"/>
              <a:t> Statistikk dagens klimagassutslipp er for 2022.</a:t>
            </a:r>
          </a:p>
        </p:txBody>
      </p:sp>
      <p:sp>
        <p:nvSpPr>
          <p:cNvPr id="4" name="Plassholder for lysbildenummer 3"/>
          <p:cNvSpPr>
            <a:spLocks noGrp="1"/>
          </p:cNvSpPr>
          <p:nvPr>
            <p:ph type="sldNum" sz="quarter" idx="5"/>
          </p:nvPr>
        </p:nvSpPr>
        <p:spPr/>
        <p:txBody>
          <a:bodyPr/>
          <a:lstStyle/>
          <a:p>
            <a:fld id="{0DBD18A2-FE98-4292-85DF-71FBFE3CE1A8}" type="slidenum">
              <a:rPr lang="nb-NO" smtClean="0"/>
              <a:t>22</a:t>
            </a:fld>
            <a:endParaRPr lang="nb-NO"/>
          </a:p>
        </p:txBody>
      </p:sp>
    </p:spTree>
    <p:extLst>
      <p:ext uri="{BB962C8B-B14F-4D97-AF65-F5344CB8AC3E}">
        <p14:creationId xmlns:p14="http://schemas.microsoft.com/office/powerpoint/2010/main" val="17038290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3</a:t>
            </a:fld>
            <a:endParaRPr lang="nb-NO"/>
          </a:p>
        </p:txBody>
      </p:sp>
    </p:spTree>
    <p:extLst>
      <p:ext uri="{BB962C8B-B14F-4D97-AF65-F5344CB8AC3E}">
        <p14:creationId xmlns:p14="http://schemas.microsoft.com/office/powerpoint/2010/main" val="26573485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n-NO" dirty="0"/>
              <a:t>Figuren til venstre viser den faktiske befolkningsutviklinga fram til 2024, og deretter </a:t>
            </a:r>
            <a:r>
              <a:rPr lang="nn-NO" dirty="0" err="1"/>
              <a:t>SSB’s</a:t>
            </a:r>
            <a:r>
              <a:rPr lang="nn-NO" dirty="0"/>
              <a:t> middelalternativ fram til 2030. Denne framskrivinga viser ei nokså lineær utvikling og er basert på seinare års utvikling. og at </a:t>
            </a:r>
            <a:r>
              <a:rPr lang="nn-NO" dirty="0" err="1"/>
              <a:t>årlige</a:t>
            </a:r>
            <a:r>
              <a:rPr lang="nn-NO" dirty="0"/>
              <a:t> svingingar sjølvsagt ikkje fangast opp. Jo lengre fram i tid ein ser, jo mindre treffsikker er framskrivinga. Desse tar heller ikkje omsyn til hendingar det er grunn til å tru kan ha betyding, som til dømes større </a:t>
            </a:r>
            <a:r>
              <a:rPr lang="nn-NO" dirty="0" err="1"/>
              <a:t>infrastrukturprosjekter</a:t>
            </a:r>
            <a:r>
              <a:rPr lang="nn-NO" dirty="0"/>
              <a:t> eller bedrifts etableringar. </a:t>
            </a:r>
            <a:endParaRPr lang="en-US" dirty="0"/>
          </a:p>
          <a:p>
            <a:r>
              <a:rPr lang="nn-NO" dirty="0"/>
              <a:t>Figuren til høgre er det knyta lite uvisse til auken i den aldrande befolkninga. Dette er menneskjer vi allereie har hos oss i dag.</a:t>
            </a:r>
            <a:endParaRPr lang="en-US" dirty="0"/>
          </a:p>
          <a:p>
            <a:endParaRPr lang="nb-NO" dirty="0"/>
          </a:p>
          <a:p>
            <a:endParaRPr lang="nb-NO" dirty="0">
              <a:cs typeface="Calibri"/>
            </a:endParaRPr>
          </a:p>
        </p:txBody>
      </p:sp>
      <p:sp>
        <p:nvSpPr>
          <p:cNvPr id="4" name="Plassholder for lysbildenummer 3"/>
          <p:cNvSpPr>
            <a:spLocks noGrp="1"/>
          </p:cNvSpPr>
          <p:nvPr>
            <p:ph type="sldNum" sz="quarter" idx="10"/>
          </p:nvPr>
        </p:nvSpPr>
        <p:spPr/>
        <p:txBody>
          <a:bodyPr/>
          <a:lstStyle/>
          <a:p>
            <a:fld id="{0DBD18A2-FE98-4292-85DF-71FBFE3CE1A8}" type="slidenum">
              <a:rPr lang="nb-NO" smtClean="0"/>
              <a:t>3</a:t>
            </a:fld>
            <a:endParaRPr lang="nb-NO"/>
          </a:p>
        </p:txBody>
      </p:sp>
    </p:spTree>
    <p:extLst>
      <p:ext uri="{BB962C8B-B14F-4D97-AF65-F5344CB8AC3E}">
        <p14:creationId xmlns:p14="http://schemas.microsoft.com/office/powerpoint/2010/main" val="30339831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tatus per 2022.</a:t>
            </a:r>
          </a:p>
        </p:txBody>
      </p:sp>
      <p:sp>
        <p:nvSpPr>
          <p:cNvPr id="4" name="Plassholder for lysbildenummer 3"/>
          <p:cNvSpPr>
            <a:spLocks noGrp="1"/>
          </p:cNvSpPr>
          <p:nvPr>
            <p:ph type="sldNum" sz="quarter" idx="5"/>
          </p:nvPr>
        </p:nvSpPr>
        <p:spPr/>
        <p:txBody>
          <a:bodyPr/>
          <a:lstStyle/>
          <a:p>
            <a:fld id="{0DBD18A2-FE98-4292-85DF-71FBFE3CE1A8}" type="slidenum">
              <a:rPr lang="nb-NO" smtClean="0"/>
              <a:t>24</a:t>
            </a:fld>
            <a:endParaRPr lang="nb-NO"/>
          </a:p>
        </p:txBody>
      </p:sp>
    </p:spTree>
    <p:extLst>
      <p:ext uri="{BB962C8B-B14F-4D97-AF65-F5344CB8AC3E}">
        <p14:creationId xmlns:p14="http://schemas.microsoft.com/office/powerpoint/2010/main" val="36605985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25</a:t>
            </a:fld>
            <a:endParaRPr lang="nb-NO"/>
          </a:p>
        </p:txBody>
      </p:sp>
    </p:spTree>
    <p:extLst>
      <p:ext uri="{BB962C8B-B14F-4D97-AF65-F5344CB8AC3E}">
        <p14:creationId xmlns:p14="http://schemas.microsoft.com/office/powerpoint/2010/main" val="2637324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Kartet til høyre</a:t>
            </a:r>
            <a:r>
              <a:rPr lang="nb-NO" baseline="0" dirty="0"/>
              <a:t> er laget på grunnlag av </a:t>
            </a:r>
            <a:r>
              <a:rPr lang="nb-NO" baseline="0" dirty="0" err="1"/>
              <a:t>SSB’s</a:t>
            </a:r>
            <a:r>
              <a:rPr lang="nb-NO" baseline="0" dirty="0"/>
              <a:t> rutenettstatistikk.</a:t>
            </a:r>
          </a:p>
          <a:p>
            <a:endParaRPr lang="nb-NO"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nb-NO" dirty="0"/>
              <a:t>Sentralisering</a:t>
            </a:r>
            <a:r>
              <a:rPr lang="nb-NO" baseline="0" dirty="0"/>
              <a:t> er en global megatrend.</a:t>
            </a:r>
            <a:endParaRPr lang="nb-NO" dirty="0"/>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4</a:t>
            </a:fld>
            <a:endParaRPr lang="nb-NO"/>
          </a:p>
        </p:txBody>
      </p:sp>
    </p:spTree>
    <p:extLst>
      <p:ext uri="{BB962C8B-B14F-4D97-AF65-F5344CB8AC3E}">
        <p14:creationId xmlns:p14="http://schemas.microsoft.com/office/powerpoint/2010/main" val="39657985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5</a:t>
            </a:fld>
            <a:endParaRPr lang="nb-NO"/>
          </a:p>
        </p:txBody>
      </p:sp>
    </p:spTree>
    <p:extLst>
      <p:ext uri="{BB962C8B-B14F-4D97-AF65-F5344CB8AC3E}">
        <p14:creationId xmlns:p14="http://schemas.microsoft.com/office/powerpoint/2010/main" val="11762227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Sysselsettingsandelen i Agder gikk ned fra 2022 til 2023. Gapet til landsgjennomsnittet er imidlertid uendret, siden sysselsettingsandelen også gikk ned i Norge.</a:t>
            </a:r>
          </a:p>
          <a:p>
            <a:pPr marL="171450" indent="-171450">
              <a:buFont typeface="Arial" panose="020B0604020202020204" pitchFamily="34" charset="0"/>
              <a:buChar char="•"/>
            </a:pPr>
            <a:r>
              <a:rPr lang="nb-NO" dirty="0"/>
              <a:t>Agder har også en høyere andel av befolkningen som står helt utenfor arbeidsstyrken</a:t>
            </a:r>
            <a:r>
              <a:rPr lang="nb-NO" baseline="0" dirty="0"/>
              <a:t> enn landet for øvrig. </a:t>
            </a:r>
            <a:r>
              <a:rPr lang="nb-NO" baseline="0" dirty="0" err="1"/>
              <a:t>Dvs</a:t>
            </a:r>
            <a:r>
              <a:rPr lang="nb-NO" baseline="0" dirty="0"/>
              <a:t> mennesker som ikke har noen relasjon til arbeidslivet i det hele tatt (verken arbeidsledig eller sysselsatt). </a:t>
            </a:r>
            <a:r>
              <a:rPr lang="nb-NO" dirty="0"/>
              <a:t>Sysselsatte er definert som personer som utførte inntektsgivende arbeid av minst én times varighet i referanseuken m.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Agder har også mye lavere sysselsettingsgrad for innvandrere enn landet for øvrig. </a:t>
            </a:r>
          </a:p>
          <a:p>
            <a:endParaRPr lang="nb-NO" dirty="0"/>
          </a:p>
          <a:p>
            <a:r>
              <a:rPr lang="nb-NO" dirty="0"/>
              <a:t>Sysselsatte er definert som personer som utførte inntektsgivende arbeid av minst én times varighet i referanseuken, samt personer som har et slikt arbeid, men som var midlertidig fraværende pga. sykdom, ferie, lønnet permisjon e.l. Personer som er inne til førstegangs militær- eller siviltjeneste regnes som sysselsatte. Personer på sysselsettingstiltak med lønn fra arbeidsgiver klassifiseres også som sysselsatte.</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7</a:t>
            </a:fld>
            <a:endParaRPr lang="nb-NO"/>
          </a:p>
        </p:txBody>
      </p:sp>
    </p:spTree>
    <p:extLst>
      <p:ext uri="{BB962C8B-B14F-4D97-AF65-F5344CB8AC3E}">
        <p14:creationId xmlns:p14="http://schemas.microsoft.com/office/powerpoint/2010/main" val="14343565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Agder per 2023, 4. </a:t>
            </a:r>
            <a:r>
              <a:rPr lang="nb-NO" sz="1200" b="0" i="0" kern="1200" dirty="0" err="1">
                <a:solidFill>
                  <a:schemeClr val="tx1"/>
                </a:solidFill>
                <a:effectLst/>
                <a:latin typeface="+mn-lt"/>
                <a:ea typeface="+mn-ea"/>
                <a:cs typeface="+mn-cs"/>
              </a:rPr>
              <a:t>kv</a:t>
            </a:r>
            <a:r>
              <a:rPr lang="nb-NO" sz="1200" b="0" i="0" kern="1200" dirty="0">
                <a:solidFill>
                  <a:schemeClr val="tx1"/>
                </a:solidFill>
                <a:effectLst/>
                <a:latin typeface="+mn-lt"/>
                <a:ea typeface="+mn-ea"/>
                <a:cs typeface="+mn-cs"/>
              </a:rPr>
              <a:t>:</a:t>
            </a:r>
            <a:br>
              <a:rPr lang="nb-NO" dirty="0"/>
            </a:br>
            <a:r>
              <a:rPr lang="nb-NO" sz="1200" b="0" i="0" kern="1200" dirty="0">
                <a:solidFill>
                  <a:schemeClr val="tx1"/>
                </a:solidFill>
                <a:effectLst/>
                <a:latin typeface="+mn-lt"/>
                <a:ea typeface="+mn-ea"/>
                <a:cs typeface="+mn-cs"/>
              </a:rPr>
              <a:t>Sysselsatte med bosted: 154 420 (15-74 år)</a:t>
            </a:r>
            <a:br>
              <a:rPr lang="nb-NO" dirty="0"/>
            </a:br>
            <a:r>
              <a:rPr lang="nb-NO" sz="1200" b="0" i="0" kern="1200" dirty="0">
                <a:solidFill>
                  <a:schemeClr val="tx1"/>
                </a:solidFill>
                <a:effectLst/>
                <a:latin typeface="+mn-lt"/>
                <a:ea typeface="+mn-ea"/>
                <a:cs typeface="+mn-cs"/>
              </a:rPr>
              <a:t>Sysselsatte med arbeidssted: 147 240 (15-74 å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Kommunene med størst arbeidsplassoverskudd er Kristiansand (4 341) og Arendal (406).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BA-områdene</a:t>
            </a:r>
            <a:r>
              <a:rPr lang="nb-NO" baseline="0" dirty="0"/>
              <a:t> ble oppdatert i 19/20 av TØI.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baseline="0" dirty="0"/>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B47F5C-C94D-417D-8719-BBD0F1BB9277}"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19141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Kilde for virksomhetsinfo:</a:t>
            </a:r>
            <a:r>
              <a:rPr lang="nb-NO" baseline="0" dirty="0"/>
              <a:t> Brønnøysundregisteret.</a:t>
            </a: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0</a:t>
            </a:fld>
            <a:endParaRPr lang="nb-NO"/>
          </a:p>
        </p:txBody>
      </p:sp>
    </p:spTree>
    <p:extLst>
      <p:ext uri="{BB962C8B-B14F-4D97-AF65-F5344CB8AC3E}">
        <p14:creationId xmlns:p14="http://schemas.microsoft.com/office/powerpoint/2010/main" val="6491181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b="0" i="0" kern="1200" dirty="0">
                <a:solidFill>
                  <a:schemeClr val="tx1"/>
                </a:solidFill>
                <a:effectLst/>
                <a:latin typeface="+mn-lt"/>
                <a:ea typeface="+mn-ea"/>
                <a:cs typeface="+mn-cs"/>
              </a:rPr>
              <a:t>Grunnskolepoeng regnes ut ved at alle avsluttende karakterer som føres på vitnemålet, legges sammen og deles på antall karakterer slik at en får et gjennomsnitt. Deretter ganges gjennomsnittet med 10. </a:t>
            </a:r>
          </a:p>
          <a:p>
            <a:pPr marL="171450" indent="-171450">
              <a:buFont typeface="Arial" panose="020B0604020202020204" pitchFamily="34" charset="0"/>
              <a:buChar char="•"/>
            </a:pPr>
            <a:endParaRPr lang="nb-NO" sz="1200" b="0" i="0" kern="1200" dirty="0">
              <a:solidFill>
                <a:schemeClr val="tx1"/>
              </a:solidFill>
              <a:effectLst/>
              <a:latin typeface="+mn-lt"/>
              <a:ea typeface="+mn-ea"/>
              <a:cs typeface="+mn-cs"/>
            </a:endParaRPr>
          </a:p>
          <a:p>
            <a:pPr marL="171450" indent="-171450">
              <a:buFont typeface="Arial" panose="020B0604020202020204" pitchFamily="34" charset="0"/>
              <a:buChar char="•"/>
            </a:pPr>
            <a:r>
              <a:rPr lang="nb-NO" sz="1200" b="0" i="0" kern="1200" dirty="0">
                <a:solidFill>
                  <a:schemeClr val="tx1"/>
                </a:solidFill>
                <a:effectLst/>
                <a:latin typeface="+mn-lt"/>
                <a:ea typeface="+mn-ea"/>
                <a:cs typeface="+mn-cs"/>
              </a:rPr>
              <a:t>Standpunktkarakterer og eksamensresultater inngår i elevenes sluttvurdering og skal gi informasjon om elevenes kompetanse ved avslutningen av </a:t>
            </a:r>
            <a:r>
              <a:rPr lang="nb-NO" sz="1200" b="0" i="0" kern="1200">
                <a:solidFill>
                  <a:schemeClr val="tx1"/>
                </a:solidFill>
                <a:effectLst/>
                <a:latin typeface="+mn-lt"/>
                <a:ea typeface="+mn-ea"/>
                <a:cs typeface="+mn-cs"/>
              </a:rPr>
              <a:t>grunnopplæringen.</a:t>
            </a:r>
            <a:endParaRPr lang="nb-NO" sz="1200" b="0" i="0" kern="1200" dirty="0">
              <a:solidFill>
                <a:schemeClr val="tx1"/>
              </a:solidFill>
              <a:effectLst/>
              <a:latin typeface="+mn-lt"/>
              <a:ea typeface="+mn-ea"/>
              <a:cs typeface="+mn-cs"/>
            </a:endParaRPr>
          </a:p>
        </p:txBody>
      </p:sp>
      <p:sp>
        <p:nvSpPr>
          <p:cNvPr id="4" name="Plassholder for lysbildenummer 3"/>
          <p:cNvSpPr>
            <a:spLocks noGrp="1"/>
          </p:cNvSpPr>
          <p:nvPr>
            <p:ph type="sldNum" sz="quarter" idx="10"/>
          </p:nvPr>
        </p:nvSpPr>
        <p:spPr/>
        <p:txBody>
          <a:bodyPr/>
          <a:lstStyle/>
          <a:p>
            <a:fld id="{0DBD18A2-FE98-4292-85DF-71FBFE3CE1A8}" type="slidenum">
              <a:rPr lang="nb-NO" smtClean="0"/>
              <a:t>12</a:t>
            </a:fld>
            <a:endParaRPr lang="nb-NO"/>
          </a:p>
        </p:txBody>
      </p:sp>
    </p:spTree>
    <p:extLst>
      <p:ext uri="{BB962C8B-B14F-4D97-AF65-F5344CB8AC3E}">
        <p14:creationId xmlns:p14="http://schemas.microsoft.com/office/powerpoint/2010/main" val="39936670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Gjennomføring VGS</a:t>
            </a:r>
          </a:p>
          <a:p>
            <a:r>
              <a:rPr lang="nb-NO" dirty="0"/>
              <a:t>Samlet var gjennomføringsgraden for de som startet i vg1 første gang i 2017 på 83,6 % i Agder,</a:t>
            </a:r>
            <a:r>
              <a:rPr lang="nb-NO" baseline="0" dirty="0"/>
              <a:t> som er høyere enn landsgjennomsnittet på 82,2 %.</a:t>
            </a:r>
          </a:p>
          <a:p>
            <a:endParaRPr lang="nb-NO" dirty="0"/>
          </a:p>
          <a:p>
            <a:r>
              <a:rPr lang="nb-NO" dirty="0"/>
              <a:t>Tallene viser gjennomføring i videregående opplæring etter 5/6 år </a:t>
            </a:r>
            <a:r>
              <a:rPr lang="nb-NO" b="0" i="0" dirty="0">
                <a:solidFill>
                  <a:srgbClr val="000000"/>
                </a:solidFill>
                <a:effectLst/>
                <a:highlight>
                  <a:srgbClr val="FBF1F0"/>
                </a:highlight>
                <a:latin typeface="Arial" panose="020B0604020202020204" pitchFamily="34" charset="0"/>
              </a:rPr>
              <a:t>for elever med bostedsadresse i Agder.</a:t>
            </a:r>
            <a:endParaRPr lang="nb-NO" dirty="0"/>
          </a:p>
          <a:p>
            <a:endParaRPr lang="nb-NO" b="0" dirty="0"/>
          </a:p>
          <a:p>
            <a:r>
              <a:rPr lang="nb-NO" b="0" dirty="0"/>
              <a:t>Når det gjelder</a:t>
            </a:r>
            <a:r>
              <a:rPr lang="nb-NO" b="0" baseline="0" dirty="0"/>
              <a:t> søkerpreferanser er det en generell trend at en større andel jenter enn gutter søker studiespesialisering. De senere årene har andelen som søker yrkesopplæring vært økende for begge kjønn.</a:t>
            </a:r>
            <a:endParaRPr lang="nb-NO" b="0"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3</a:t>
            </a:fld>
            <a:endParaRPr lang="nb-NO"/>
          </a:p>
        </p:txBody>
      </p:sp>
    </p:spTree>
    <p:extLst>
      <p:ext uri="{BB962C8B-B14F-4D97-AF65-F5344CB8AC3E}">
        <p14:creationId xmlns:p14="http://schemas.microsoft.com/office/powerpoint/2010/main" val="26963424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MANGFO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40453"/>
          <a:stretch/>
        </p:blipFill>
        <p:spPr>
          <a:xfrm>
            <a:off x="0" y="1412874"/>
            <a:ext cx="12192000" cy="5445125"/>
          </a:xfrm>
          <a:prstGeom prst="rect">
            <a:avLst/>
          </a:prstGeom>
          <a:gradFill>
            <a:gsLst>
              <a:gs pos="0">
                <a:schemeClr val="accent3"/>
              </a:gs>
              <a:gs pos="100000">
                <a:schemeClr val="accent3">
                  <a:alpha val="37000"/>
                </a:schemeClr>
              </a:gs>
            </a:gsLst>
            <a:lin ang="5400000" scaled="0"/>
          </a:gradFill>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8" name="Bilde 7">
            <a:extLst>
              <a:ext uri="{FF2B5EF4-FFF2-40B4-BE49-F238E27FC236}">
                <a16:creationId xmlns:a16="http://schemas.microsoft.com/office/drawing/2014/main" id="{14FA9D77-7A69-6645-98FE-081527F9027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84805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killeark mørke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50C2A493-DA8F-A448-8923-BD11148A91E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A9D602EA-5541-C14F-A865-0DB117556B4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3896123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killeark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FB5A035-3596-2349-8AAE-14C9534BD73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DEF4ECDC-CE1C-B940-AF40-931AA22F590A}"/>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31868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killeark lyse 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7EF0DE4-E027-7148-93C2-9C7F14C317B8}"/>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C47F1A07-A366-9A4C-8443-E8472A73962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581756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killeark mørke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19B0525-BE64-0F45-8A69-48B0CB40D38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0ED6679C-FB2E-1F48-AD42-3882C1CAD39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19311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kille ark gul">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FB1D3B-AAEC-FD44-B521-C162D293044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E3288375-4451-E342-827E-3221668E686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411482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415563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30893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nnhold og bilde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a:xfrm>
            <a:off x="1200149" y="1412875"/>
            <a:ext cx="4846639" cy="4795092"/>
          </a:xfrm>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10" name="Plassholder for bilde 6">
            <a:extLst>
              <a:ext uri="{FF2B5EF4-FFF2-40B4-BE49-F238E27FC236}">
                <a16:creationId xmlns:a16="http://schemas.microsoft.com/office/drawing/2014/main" id="{8F31A962-CF8C-A14F-A38E-166E9EB15062}"/>
              </a:ext>
            </a:extLst>
          </p:cNvPr>
          <p:cNvSpPr>
            <a:spLocks noGrp="1"/>
          </p:cNvSpPr>
          <p:nvPr>
            <p:ph type="pic" sz="quarter" idx="13" hasCustomPrompt="1"/>
          </p:nvPr>
        </p:nvSpPr>
        <p:spPr>
          <a:xfrm>
            <a:off x="6507162" y="1412875"/>
            <a:ext cx="4846637" cy="45021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36456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o innholdsdeler på beige bakgru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E42A72B-0452-024A-98A7-6B8A8391611C}"/>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545377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68734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tellysbilde VANN">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2"/>
          <a:stretch/>
        </p:blipFill>
        <p:spPr>
          <a:xfrm>
            <a:off x="1" y="1412875"/>
            <a:ext cx="12191999" cy="5445126"/>
          </a:xfrm>
          <a:prstGeom prst="rect">
            <a:avLst/>
          </a:prstGeom>
        </p:spPr>
      </p:pic>
      <p:sp>
        <p:nvSpPr>
          <p:cNvPr id="8" name="Tittel 1">
            <a:extLst>
              <a:ext uri="{FF2B5EF4-FFF2-40B4-BE49-F238E27FC236}">
                <a16:creationId xmlns:a16="http://schemas.microsoft.com/office/drawing/2014/main" id="{E83505AC-2FFD-AA4D-BCF7-6F39031012DF}"/>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EDCDDA7-C846-6B40-A401-3A908CC20B78}"/>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FA094CD2-4DEF-2C40-81F7-50F084B5172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7998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C2699F-F053-B648-853B-39A704DC93F8}"/>
              </a:ext>
            </a:extLst>
          </p:cNvPr>
          <p:cNvSpPr>
            <a:spLocks noGrp="1"/>
          </p:cNvSpPr>
          <p:nvPr>
            <p:ph type="title"/>
          </p:nvPr>
        </p:nvSpPr>
        <p:spPr>
          <a:xfrm>
            <a:off x="1200150" y="295470"/>
            <a:ext cx="10155237" cy="685606"/>
          </a:xfrm>
        </p:spPr>
        <p:txBody>
          <a:bodyPr/>
          <a:lstStyle/>
          <a:p>
            <a:r>
              <a:rPr lang="nb-NO"/>
              <a:t>Klikk for å redigere tittelstil</a:t>
            </a:r>
            <a:endParaRPr lang="en-GB"/>
          </a:p>
        </p:txBody>
      </p:sp>
      <p:sp>
        <p:nvSpPr>
          <p:cNvPr id="3" name="Plassholder for tekst 2">
            <a:extLst>
              <a:ext uri="{FF2B5EF4-FFF2-40B4-BE49-F238E27FC236}">
                <a16:creationId xmlns:a16="http://schemas.microsoft.com/office/drawing/2014/main" id="{8D91D0C9-301F-EC4A-8533-5C61ACCF64AC}"/>
              </a:ext>
            </a:extLst>
          </p:cNvPr>
          <p:cNvSpPr>
            <a:spLocks noGrp="1"/>
          </p:cNvSpPr>
          <p:nvPr>
            <p:ph type="body" idx="1"/>
          </p:nvPr>
        </p:nvSpPr>
        <p:spPr>
          <a:xfrm>
            <a:off x="1209969" y="1422400"/>
            <a:ext cx="483682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4" name="Plassholder for innhold 3">
            <a:extLst>
              <a:ext uri="{FF2B5EF4-FFF2-40B4-BE49-F238E27FC236}">
                <a16:creationId xmlns:a16="http://schemas.microsoft.com/office/drawing/2014/main" id="{0900DAB7-B5FA-5F40-BCCE-77A171854CFA}"/>
              </a:ext>
            </a:extLst>
          </p:cNvPr>
          <p:cNvSpPr>
            <a:spLocks noGrp="1"/>
          </p:cNvSpPr>
          <p:nvPr>
            <p:ph sz="half" idx="2"/>
          </p:nvPr>
        </p:nvSpPr>
        <p:spPr>
          <a:xfrm>
            <a:off x="1200150" y="2045556"/>
            <a:ext cx="4836820" cy="3867882"/>
          </a:xfrm>
        </p:spPr>
        <p:txBody>
          <a:bodyPr/>
          <a:lstStyle/>
          <a:p>
            <a:pPr lvl="0"/>
            <a:r>
              <a:rPr lang="nb-NO"/>
              <a:t>Rediger tekststiler i malen</a:t>
            </a:r>
          </a:p>
        </p:txBody>
      </p:sp>
      <p:sp>
        <p:nvSpPr>
          <p:cNvPr id="5" name="Plassholder for tekst 4">
            <a:extLst>
              <a:ext uri="{FF2B5EF4-FFF2-40B4-BE49-F238E27FC236}">
                <a16:creationId xmlns:a16="http://schemas.microsoft.com/office/drawing/2014/main" id="{EA3B77BF-050B-4246-97E1-E91A76B6DEF5}"/>
              </a:ext>
            </a:extLst>
          </p:cNvPr>
          <p:cNvSpPr>
            <a:spLocks noGrp="1"/>
          </p:cNvSpPr>
          <p:nvPr>
            <p:ph type="body" sz="quarter" idx="3"/>
          </p:nvPr>
        </p:nvSpPr>
        <p:spPr>
          <a:xfrm>
            <a:off x="6520154" y="1422400"/>
            <a:ext cx="486064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6" name="Plassholder for innhold 5">
            <a:extLst>
              <a:ext uri="{FF2B5EF4-FFF2-40B4-BE49-F238E27FC236}">
                <a16:creationId xmlns:a16="http://schemas.microsoft.com/office/drawing/2014/main" id="{B85271C5-6B40-FC44-A294-ADE60C828478}"/>
              </a:ext>
            </a:extLst>
          </p:cNvPr>
          <p:cNvSpPr>
            <a:spLocks noGrp="1"/>
          </p:cNvSpPr>
          <p:nvPr>
            <p:ph sz="quarter" idx="4"/>
          </p:nvPr>
        </p:nvSpPr>
        <p:spPr>
          <a:xfrm>
            <a:off x="6512000" y="2045556"/>
            <a:ext cx="4860641" cy="3867882"/>
          </a:xfrm>
        </p:spPr>
        <p:txBody>
          <a:bodyPr/>
          <a:lstStyle/>
          <a:p>
            <a:pPr lvl="0"/>
            <a:r>
              <a:rPr lang="nb-NO"/>
              <a:t>Rediger tekststiler i malen</a:t>
            </a:r>
          </a:p>
        </p:txBody>
      </p:sp>
      <p:sp>
        <p:nvSpPr>
          <p:cNvPr id="7" name="Plassholder for dato 6">
            <a:extLst>
              <a:ext uri="{FF2B5EF4-FFF2-40B4-BE49-F238E27FC236}">
                <a16:creationId xmlns:a16="http://schemas.microsoft.com/office/drawing/2014/main" id="{C6615B01-1B0C-A54E-B31E-C540FE5FCC3C}"/>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8" name="Plassholder for bunntekst 7">
            <a:extLst>
              <a:ext uri="{FF2B5EF4-FFF2-40B4-BE49-F238E27FC236}">
                <a16:creationId xmlns:a16="http://schemas.microsoft.com/office/drawing/2014/main" id="{AD7D1708-0EA4-2840-8374-5986EBE3D9DF}"/>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B3492B15-B52D-4641-8CD3-22AAF4E6A52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81235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219512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lsides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12192000" cy="48069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281614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o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6046788"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046788" y="1106489"/>
            <a:ext cx="6145211"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686369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ire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8"/>
            <a:ext cx="2986259" cy="4945107"/>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bilde 6">
            <a:extLst>
              <a:ext uri="{FF2B5EF4-FFF2-40B4-BE49-F238E27FC236}">
                <a16:creationId xmlns:a16="http://schemas.microsoft.com/office/drawing/2014/main" id="{AEDB428C-3618-E343-B0EC-39DCFF276AF6}"/>
              </a:ext>
            </a:extLst>
          </p:cNvPr>
          <p:cNvSpPr>
            <a:spLocks noGrp="1"/>
          </p:cNvSpPr>
          <p:nvPr>
            <p:ph type="pic" sz="quarter" idx="15" hasCustomPrompt="1"/>
          </p:nvPr>
        </p:nvSpPr>
        <p:spPr>
          <a:xfrm>
            <a:off x="2994207" y="1106489"/>
            <a:ext cx="305814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0" name="Plassholder for bilde 6">
            <a:extLst>
              <a:ext uri="{FF2B5EF4-FFF2-40B4-BE49-F238E27FC236}">
                <a16:creationId xmlns:a16="http://schemas.microsoft.com/office/drawing/2014/main" id="{DA598E21-2324-D045-BC48-E189D45CEC30}"/>
              </a:ext>
            </a:extLst>
          </p:cNvPr>
          <p:cNvSpPr>
            <a:spLocks noGrp="1"/>
          </p:cNvSpPr>
          <p:nvPr>
            <p:ph type="pic" sz="quarter" idx="16" hasCustomPrompt="1"/>
          </p:nvPr>
        </p:nvSpPr>
        <p:spPr>
          <a:xfrm>
            <a:off x="6060302" y="1112792"/>
            <a:ext cx="3022283" cy="4945108"/>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1" name="Plassholder for bilde 6">
            <a:extLst>
              <a:ext uri="{FF2B5EF4-FFF2-40B4-BE49-F238E27FC236}">
                <a16:creationId xmlns:a16="http://schemas.microsoft.com/office/drawing/2014/main" id="{3F78A8F7-779F-7D47-BDE1-55B6796D32CB}"/>
              </a:ext>
            </a:extLst>
          </p:cNvPr>
          <p:cNvSpPr>
            <a:spLocks noGrp="1"/>
          </p:cNvSpPr>
          <p:nvPr>
            <p:ph type="pic" sz="quarter" idx="17" hasCustomPrompt="1"/>
          </p:nvPr>
        </p:nvSpPr>
        <p:spPr>
          <a:xfrm>
            <a:off x="9090533" y="1106489"/>
            <a:ext cx="310146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96539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em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8">
            <a:extLst>
              <a:ext uri="{FF2B5EF4-FFF2-40B4-BE49-F238E27FC236}">
                <a16:creationId xmlns:a16="http://schemas.microsoft.com/office/drawing/2014/main" id="{64FA60B4-7339-534E-B8F1-DD5BE816C160}"/>
              </a:ext>
            </a:extLst>
          </p:cNvPr>
          <p:cNvSpPr>
            <a:spLocks noGrp="1"/>
          </p:cNvSpPr>
          <p:nvPr>
            <p:ph type="pic" sz="quarter" idx="13"/>
          </p:nvPr>
        </p:nvSpPr>
        <p:spPr>
          <a:xfrm>
            <a:off x="119380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2" name="Plassholder for bilde 8">
            <a:extLst>
              <a:ext uri="{FF2B5EF4-FFF2-40B4-BE49-F238E27FC236}">
                <a16:creationId xmlns:a16="http://schemas.microsoft.com/office/drawing/2014/main" id="{C585E74F-1E52-E843-8AB0-068406E3AD61}"/>
              </a:ext>
            </a:extLst>
          </p:cNvPr>
          <p:cNvSpPr>
            <a:spLocks noGrp="1"/>
          </p:cNvSpPr>
          <p:nvPr>
            <p:ph type="pic" sz="quarter" idx="14"/>
          </p:nvPr>
        </p:nvSpPr>
        <p:spPr>
          <a:xfrm>
            <a:off x="326137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3" name="Plassholder for bilde 8">
            <a:extLst>
              <a:ext uri="{FF2B5EF4-FFF2-40B4-BE49-F238E27FC236}">
                <a16:creationId xmlns:a16="http://schemas.microsoft.com/office/drawing/2014/main" id="{EFC33128-C32F-CE4F-92AC-7C350A3F30AF}"/>
              </a:ext>
            </a:extLst>
          </p:cNvPr>
          <p:cNvSpPr>
            <a:spLocks noGrp="1"/>
          </p:cNvSpPr>
          <p:nvPr>
            <p:ph type="pic" sz="quarter" idx="15"/>
          </p:nvPr>
        </p:nvSpPr>
        <p:spPr>
          <a:xfrm>
            <a:off x="532894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4" name="Plassholder for bilde 8">
            <a:extLst>
              <a:ext uri="{FF2B5EF4-FFF2-40B4-BE49-F238E27FC236}">
                <a16:creationId xmlns:a16="http://schemas.microsoft.com/office/drawing/2014/main" id="{813556B4-7B1D-CA47-8245-FD9304650F5A}"/>
              </a:ext>
            </a:extLst>
          </p:cNvPr>
          <p:cNvSpPr>
            <a:spLocks noGrp="1"/>
          </p:cNvSpPr>
          <p:nvPr>
            <p:ph type="pic" sz="quarter" idx="16"/>
          </p:nvPr>
        </p:nvSpPr>
        <p:spPr>
          <a:xfrm>
            <a:off x="739651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5" name="Plassholder for bilde 8">
            <a:extLst>
              <a:ext uri="{FF2B5EF4-FFF2-40B4-BE49-F238E27FC236}">
                <a16:creationId xmlns:a16="http://schemas.microsoft.com/office/drawing/2014/main" id="{54813E33-A7C3-A54B-B54A-8B63515FD579}"/>
              </a:ext>
            </a:extLst>
          </p:cNvPr>
          <p:cNvSpPr>
            <a:spLocks noGrp="1"/>
          </p:cNvSpPr>
          <p:nvPr>
            <p:ph type="pic" sz="quarter" idx="17"/>
          </p:nvPr>
        </p:nvSpPr>
        <p:spPr>
          <a:xfrm>
            <a:off x="9464079"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22" name="Plassholder for innhold 2">
            <a:extLst>
              <a:ext uri="{FF2B5EF4-FFF2-40B4-BE49-F238E27FC236}">
                <a16:creationId xmlns:a16="http://schemas.microsoft.com/office/drawing/2014/main" id="{96B28FC9-4A4D-7C4A-88F5-47C91030E2FE}"/>
              </a:ext>
            </a:extLst>
          </p:cNvPr>
          <p:cNvSpPr>
            <a:spLocks noGrp="1"/>
          </p:cNvSpPr>
          <p:nvPr>
            <p:ph sz="half" idx="1"/>
          </p:nvPr>
        </p:nvSpPr>
        <p:spPr>
          <a:xfrm>
            <a:off x="1193800"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5" name="Plassholder for innhold 2">
            <a:extLst>
              <a:ext uri="{FF2B5EF4-FFF2-40B4-BE49-F238E27FC236}">
                <a16:creationId xmlns:a16="http://schemas.microsoft.com/office/drawing/2014/main" id="{429752CA-7A42-0849-87C9-72D678B643CC}"/>
              </a:ext>
            </a:extLst>
          </p:cNvPr>
          <p:cNvSpPr>
            <a:spLocks noGrp="1"/>
          </p:cNvSpPr>
          <p:nvPr>
            <p:ph sz="half" idx="18"/>
          </p:nvPr>
        </p:nvSpPr>
        <p:spPr>
          <a:xfrm>
            <a:off x="3264149"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6" name="Plassholder for innhold 2">
            <a:extLst>
              <a:ext uri="{FF2B5EF4-FFF2-40B4-BE49-F238E27FC236}">
                <a16:creationId xmlns:a16="http://schemas.microsoft.com/office/drawing/2014/main" id="{8E0E3A1E-92CF-0F4B-8A00-2DCEF961A4A1}"/>
              </a:ext>
            </a:extLst>
          </p:cNvPr>
          <p:cNvSpPr>
            <a:spLocks noGrp="1"/>
          </p:cNvSpPr>
          <p:nvPr>
            <p:ph sz="half" idx="19"/>
          </p:nvPr>
        </p:nvSpPr>
        <p:spPr>
          <a:xfrm>
            <a:off x="5334498"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7" name="Plassholder for innhold 2">
            <a:extLst>
              <a:ext uri="{FF2B5EF4-FFF2-40B4-BE49-F238E27FC236}">
                <a16:creationId xmlns:a16="http://schemas.microsoft.com/office/drawing/2014/main" id="{4EF16705-5C4C-2148-96A2-D20FD60AA515}"/>
              </a:ext>
            </a:extLst>
          </p:cNvPr>
          <p:cNvSpPr>
            <a:spLocks noGrp="1"/>
          </p:cNvSpPr>
          <p:nvPr>
            <p:ph sz="half" idx="20"/>
          </p:nvPr>
        </p:nvSpPr>
        <p:spPr>
          <a:xfrm>
            <a:off x="7404846"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8" name="Plassholder for innhold 2">
            <a:extLst>
              <a:ext uri="{FF2B5EF4-FFF2-40B4-BE49-F238E27FC236}">
                <a16:creationId xmlns:a16="http://schemas.microsoft.com/office/drawing/2014/main" id="{C9CAD682-E4AA-C54A-BE34-ADC18703E499}"/>
              </a:ext>
            </a:extLst>
          </p:cNvPr>
          <p:cNvSpPr>
            <a:spLocks noGrp="1"/>
          </p:cNvSpPr>
          <p:nvPr>
            <p:ph sz="half" idx="21"/>
          </p:nvPr>
        </p:nvSpPr>
        <p:spPr>
          <a:xfrm>
            <a:off x="9475194"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Tree>
    <p:extLst>
      <p:ext uri="{BB962C8B-B14F-4D97-AF65-F5344CB8AC3E}">
        <p14:creationId xmlns:p14="http://schemas.microsoft.com/office/powerpoint/2010/main" val="2330304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Ett bilde og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507163" y="1106489"/>
            <a:ext cx="5684837"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innhold 2">
            <a:extLst>
              <a:ext uri="{FF2B5EF4-FFF2-40B4-BE49-F238E27FC236}">
                <a16:creationId xmlns:a16="http://schemas.microsoft.com/office/drawing/2014/main" id="{0CB7645A-D68F-7D4D-8F4C-9ED199B06E01}"/>
              </a:ext>
            </a:extLst>
          </p:cNvPr>
          <p:cNvSpPr>
            <a:spLocks noGrp="1"/>
          </p:cNvSpPr>
          <p:nvPr>
            <p:ph sz="half" idx="1"/>
          </p:nvPr>
        </p:nvSpPr>
        <p:spPr>
          <a:xfrm>
            <a:off x="1193800" y="1412875"/>
            <a:ext cx="4852988" cy="4500563"/>
          </a:xfrm>
        </p:spPr>
        <p:txBody>
          <a:bodyPr/>
          <a:lstStyle/>
          <a:p>
            <a:pPr lvl="0"/>
            <a:r>
              <a:rPr lang="nb-NO"/>
              <a:t>Rediger tekststiler i malen</a:t>
            </a:r>
          </a:p>
        </p:txBody>
      </p:sp>
    </p:spTree>
    <p:extLst>
      <p:ext uri="{BB962C8B-B14F-4D97-AF65-F5344CB8AC3E}">
        <p14:creationId xmlns:p14="http://schemas.microsoft.com/office/powerpoint/2010/main" val="158923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Kun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
            <a:ext cx="12192000" cy="6057899"/>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4008078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E906EA8-A6E9-7B43-9BBC-5212D3FFE7E7}"/>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3" name="Plassholder for bunntekst 2">
            <a:extLst>
              <a:ext uri="{FF2B5EF4-FFF2-40B4-BE49-F238E27FC236}">
                <a16:creationId xmlns:a16="http://schemas.microsoft.com/office/drawing/2014/main" id="{6CD01342-560C-074D-98F1-8ECE5326204A}"/>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FBDFCEEA-6F9B-CE45-80EC-32AFEF3620F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158869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s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924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tellysbilde LAND">
    <p:spTree>
      <p:nvGrpSpPr>
        <p:cNvPr id="1" name=""/>
        <p:cNvGrpSpPr/>
        <p:nvPr/>
      </p:nvGrpSpPr>
      <p:grpSpPr>
        <a:xfrm>
          <a:off x="0" y="0"/>
          <a:ext cx="0" cy="0"/>
          <a:chOff x="0" y="0"/>
          <a:chExt cx="0" cy="0"/>
        </a:xfrm>
      </p:grpSpPr>
      <p:pic>
        <p:nvPicPr>
          <p:cNvPr id="20" name="Bilde 19">
            <a:extLst>
              <a:ext uri="{FF2B5EF4-FFF2-40B4-BE49-F238E27FC236}">
                <a16:creationId xmlns:a16="http://schemas.microsoft.com/office/drawing/2014/main" id="{CC6DADBD-04F2-4E4C-BD49-3C818FEC00E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412873"/>
            <a:ext cx="12191999" cy="5445127"/>
          </a:xfrm>
          <a:prstGeom prst="rect">
            <a:avLst/>
          </a:prstGeom>
        </p:spPr>
      </p:pic>
      <p:sp>
        <p:nvSpPr>
          <p:cNvPr id="8" name="Tittel 1">
            <a:extLst>
              <a:ext uri="{FF2B5EF4-FFF2-40B4-BE49-F238E27FC236}">
                <a16:creationId xmlns:a16="http://schemas.microsoft.com/office/drawing/2014/main" id="{7C895412-AA92-8E46-A05A-70AE1BBCAB0D}"/>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5C884B76-4A8B-ED4E-9A36-9BF3079E7CD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12DA26AB-4BA8-C441-8C3E-5DFBBA89671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02289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iste si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5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22" name="Tittel 1">
            <a:extLst>
              <a:ext uri="{FF2B5EF4-FFF2-40B4-BE49-F238E27FC236}">
                <a16:creationId xmlns:a16="http://schemas.microsoft.com/office/drawing/2014/main" id="{D699F10D-90AA-044A-8891-688BB3481890}"/>
              </a:ext>
            </a:extLst>
          </p:cNvPr>
          <p:cNvSpPr>
            <a:spLocks noGrp="1"/>
          </p:cNvSpPr>
          <p:nvPr>
            <p:ph type="ctrTitle"/>
          </p:nvPr>
        </p:nvSpPr>
        <p:spPr>
          <a:xfrm>
            <a:off x="1200149" y="1412875"/>
            <a:ext cx="10164763" cy="1419035"/>
          </a:xfrm>
        </p:spPr>
        <p:txBody>
          <a:bodyPr anchor="t"/>
          <a:lstStyle>
            <a:lvl1pPr algn="l">
              <a:defRPr sz="2800">
                <a:solidFill>
                  <a:schemeClr val="bg1"/>
                </a:solidFill>
              </a:defRPr>
            </a:lvl1pPr>
          </a:lstStyle>
          <a:p>
            <a:r>
              <a:rPr lang="nb-NO"/>
              <a:t>Klikk for å redigere tittelstil</a:t>
            </a:r>
            <a:endParaRPr lang="en-GB"/>
          </a:p>
        </p:txBody>
      </p:sp>
    </p:spTree>
    <p:extLst>
      <p:ext uri="{BB962C8B-B14F-4D97-AF65-F5344CB8AC3E}">
        <p14:creationId xmlns:p14="http://schemas.microsoft.com/office/powerpoint/2010/main" val="128353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tellysbilde ENERGI">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412875"/>
            <a:ext cx="12192000" cy="5445125"/>
          </a:xfrm>
          <a:prstGeom prst="rect">
            <a:avLst/>
          </a:prstGeom>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6CAAE06E-C3D0-0C4F-AEA8-38687E910F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400546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tellysbilde med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787467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tellysbilde med bilde og VANN">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Tx/>
              <a:buNone/>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pic>
        <p:nvPicPr>
          <p:cNvPr id="15" name="Bilde 14">
            <a:extLst>
              <a:ext uri="{FF2B5EF4-FFF2-40B4-BE49-F238E27FC236}">
                <a16:creationId xmlns:a16="http://schemas.microsoft.com/office/drawing/2014/main" id="{78B6C8F4-23A8-D24D-8CC4-81825D60092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
            <a:ext cx="12191999" cy="1412875"/>
          </a:xfrm>
          <a:prstGeom prst="rect">
            <a:avLst/>
          </a:prstGeom>
        </p:spPr>
      </p:pic>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015035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tellysbilde med bilde og LAN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0904BEF1-1CD8-A743-811D-73148A23A0E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2"/>
            <a:ext cx="12191999" cy="1412877"/>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957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tellysbilde med bilde og ENERGI">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7518BFF7-683C-DC46-B39A-D44E9E85E38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20604"/>
            <a:ext cx="12192000" cy="1433479"/>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3980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killeark rø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1"/>
            <a:ext cx="12192000" cy="60579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63D257-CC7B-3F48-A358-8BE06DC365D4}"/>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6D1C8D4-22DD-274E-9D1B-3FEBDABC923C}"/>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543913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ABF0E95F-56BD-804D-85FC-1942D0D9AA9F}"/>
              </a:ext>
            </a:extLst>
          </p:cNvPr>
          <p:cNvSpPr>
            <a:spLocks noGrp="1"/>
          </p:cNvSpPr>
          <p:nvPr>
            <p:ph type="title"/>
          </p:nvPr>
        </p:nvSpPr>
        <p:spPr>
          <a:xfrm>
            <a:off x="1200148" y="295469"/>
            <a:ext cx="10153651" cy="685606"/>
          </a:xfrm>
          <a:prstGeom prst="rect">
            <a:avLst/>
          </a:prstGeom>
        </p:spPr>
        <p:txBody>
          <a:bodyPr vert="horz" lIns="0" tIns="0" rIns="0" bIns="0" rtlCol="0" anchor="ctr" anchorCtr="0">
            <a:noAutofit/>
          </a:bodyPr>
          <a:lstStyle/>
          <a:p>
            <a:r>
              <a:rPr lang="nb-NO" noProof="0"/>
              <a:t>Klikk for å redigere</a:t>
            </a:r>
          </a:p>
        </p:txBody>
      </p:sp>
      <p:sp>
        <p:nvSpPr>
          <p:cNvPr id="3" name="Plassholder for tekst 2">
            <a:extLst>
              <a:ext uri="{FF2B5EF4-FFF2-40B4-BE49-F238E27FC236}">
                <a16:creationId xmlns:a16="http://schemas.microsoft.com/office/drawing/2014/main" id="{621F666E-1E7F-4445-B72A-FA80E5208F50}"/>
              </a:ext>
            </a:extLst>
          </p:cNvPr>
          <p:cNvSpPr>
            <a:spLocks noGrp="1"/>
          </p:cNvSpPr>
          <p:nvPr>
            <p:ph type="body" idx="1"/>
          </p:nvPr>
        </p:nvSpPr>
        <p:spPr>
          <a:xfrm>
            <a:off x="1200149" y="1412879"/>
            <a:ext cx="10164763" cy="4498817"/>
          </a:xfrm>
          <a:prstGeom prst="rect">
            <a:avLst/>
          </a:prstGeom>
        </p:spPr>
        <p:txBody>
          <a:bodyPr vert="horz" lIns="0" tIns="0" rIns="0" bIns="0" rtlCol="0">
            <a:noAutofit/>
          </a:bodyPr>
          <a:lstStyle/>
          <a:p>
            <a:r>
              <a:rPr lang="nb-NO" noProof="0"/>
              <a:t>Rediger tekststiler i malen
Andre nivå
Tredje nivå
Fjerde nivå
Femte nivå</a:t>
            </a:r>
          </a:p>
        </p:txBody>
      </p:sp>
      <p:sp>
        <p:nvSpPr>
          <p:cNvPr id="4" name="Plassholder for dato 3">
            <a:extLst>
              <a:ext uri="{FF2B5EF4-FFF2-40B4-BE49-F238E27FC236}">
                <a16:creationId xmlns:a16="http://schemas.microsoft.com/office/drawing/2014/main" id="{66FEE1F8-60B7-0545-862C-1B03D1E139F4}"/>
              </a:ext>
            </a:extLst>
          </p:cNvPr>
          <p:cNvSpPr>
            <a:spLocks noGrp="1"/>
          </p:cNvSpPr>
          <p:nvPr>
            <p:ph type="dt" sz="half" idx="2"/>
          </p:nvPr>
        </p:nvSpPr>
        <p:spPr>
          <a:xfrm>
            <a:off x="9287069" y="6420061"/>
            <a:ext cx="2066730" cy="142470"/>
          </a:xfrm>
          <a:prstGeom prst="rect">
            <a:avLst/>
          </a:prstGeom>
        </p:spPr>
        <p:txBody>
          <a:bodyPr vert="horz" lIns="0" tIns="0" rIns="0" bIns="0" rtlCol="0" anchor="ctr"/>
          <a:lstStyle>
            <a:lvl1pPr algn="r">
              <a:defRPr sz="900">
                <a:solidFill>
                  <a:schemeClr val="tx1">
                    <a:tint val="75000"/>
                  </a:schemeClr>
                </a:solidFill>
              </a:defRPr>
            </a:lvl1p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6E785288-01D2-3849-BF28-CA48ADBB32D9}"/>
              </a:ext>
            </a:extLst>
          </p:cNvPr>
          <p:cNvSpPr>
            <a:spLocks noGrp="1"/>
          </p:cNvSpPr>
          <p:nvPr>
            <p:ph type="ftr" sz="quarter" idx="3"/>
          </p:nvPr>
        </p:nvSpPr>
        <p:spPr>
          <a:xfrm>
            <a:off x="2709973" y="6420061"/>
            <a:ext cx="6526176" cy="142470"/>
          </a:xfrm>
          <a:prstGeom prst="rect">
            <a:avLst/>
          </a:prstGeom>
        </p:spPr>
        <p:txBody>
          <a:bodyPr vert="horz" lIns="0" tIns="0" rIns="0" bIns="0" rtlCol="0" anchor="ctr"/>
          <a:lstStyle>
            <a:lvl1pPr algn="l">
              <a:defRPr sz="9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9E4673A0-B9CD-4A42-99EA-8144B5DBD5BC}"/>
              </a:ext>
            </a:extLst>
          </p:cNvPr>
          <p:cNvSpPr>
            <a:spLocks noGrp="1"/>
          </p:cNvSpPr>
          <p:nvPr>
            <p:ph type="sldNum" sz="quarter" idx="4"/>
          </p:nvPr>
        </p:nvSpPr>
        <p:spPr>
          <a:xfrm>
            <a:off x="11510127" y="6420061"/>
            <a:ext cx="556182" cy="142470"/>
          </a:xfrm>
          <a:prstGeom prst="rect">
            <a:avLst/>
          </a:prstGeom>
        </p:spPr>
        <p:txBody>
          <a:bodyPr vert="horz" lIns="0" tIns="0" rIns="0" bIns="0" rtlCol="0" anchor="ctr"/>
          <a:lstStyle>
            <a:lvl1pPr algn="l">
              <a:defRPr sz="900">
                <a:solidFill>
                  <a:schemeClr val="tx1">
                    <a:tint val="75000"/>
                  </a:schemeClr>
                </a:solidFill>
              </a:defRPr>
            </a:lvl1pPr>
          </a:lstStyle>
          <a:p>
            <a:fld id="{22B4266D-CA08-4367-8942-B7C896DB82AC}" type="slidenum">
              <a:rPr lang="nb-NO" smtClean="0"/>
              <a:t>‹#›</a:t>
            </a:fld>
            <a:endParaRPr lang="nb-NO"/>
          </a:p>
        </p:txBody>
      </p:sp>
      <p:pic>
        <p:nvPicPr>
          <p:cNvPr id="11" name="Bilde 10">
            <a:extLst>
              <a:ext uri="{FF2B5EF4-FFF2-40B4-BE49-F238E27FC236}">
                <a16:creationId xmlns:a16="http://schemas.microsoft.com/office/drawing/2014/main" id="{1D0E3B3F-98C2-D142-8A09-F609529E4E23}"/>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715473" y="6218339"/>
            <a:ext cx="1491772" cy="462240"/>
          </a:xfrm>
          <a:prstGeom prst="rect">
            <a:avLst/>
          </a:prstGeom>
        </p:spPr>
      </p:pic>
      <p:cxnSp>
        <p:nvCxnSpPr>
          <p:cNvPr id="8" name="Rett linje 7">
            <a:extLst>
              <a:ext uri="{FF2B5EF4-FFF2-40B4-BE49-F238E27FC236}">
                <a16:creationId xmlns:a16="http://schemas.microsoft.com/office/drawing/2014/main" id="{A85F36DB-C605-7241-A5F1-E39B21B03E75}"/>
              </a:ext>
            </a:extLst>
          </p:cNvPr>
          <p:cNvCxnSpPr>
            <a:cxnSpLocks/>
          </p:cNvCxnSpPr>
          <p:nvPr/>
        </p:nvCxnSpPr>
        <p:spPr>
          <a:xfrm>
            <a:off x="0" y="6057900"/>
            <a:ext cx="1219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62258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pos="3953">
          <p15:clr>
            <a:srgbClr val="F26B43"/>
          </p15:clr>
        </p15:guide>
        <p15:guide id="3" pos="752">
          <p15:clr>
            <a:srgbClr val="F26B43"/>
          </p15:clr>
        </p15:guide>
        <p15:guide id="4" pos="7159">
          <p15:clr>
            <a:srgbClr val="F26B43"/>
          </p15:clr>
        </p15:guide>
        <p15:guide id="5" orient="horz" pos="890">
          <p15:clr>
            <a:srgbClr val="F26B43"/>
          </p15:clr>
        </p15:guide>
        <p15:guide id="6" orient="horz" pos="3816">
          <p15:clr>
            <a:srgbClr val="F26B43"/>
          </p15:clr>
        </p15:guide>
        <p15:guide id="7" orient="horz" pos="3725">
          <p15:clr>
            <a:srgbClr val="F26B43"/>
          </p15:clr>
        </p15:guide>
        <p15:guide id="8" pos="3809">
          <p15:clr>
            <a:srgbClr val="F26B43"/>
          </p15:clr>
        </p15:guide>
        <p15:guide id="9" pos="4099">
          <p15:clr>
            <a:srgbClr val="F26B43"/>
          </p15:clr>
        </p15:guide>
        <p15:guide id="10" orient="horz" pos="181">
          <p15:clr>
            <a:srgbClr val="F26B43"/>
          </p15:clr>
        </p15:guide>
        <p15:guide id="11" orient="horz" pos="69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agdertall.no/naringsliv/naringsstruktur/" TargetMode="External"/><Relationship Id="rId2" Type="http://schemas.openxmlformats.org/officeDocument/2006/relationships/notesSlide" Target="../notesSlides/notesSlide7.xml"/><Relationship Id="rId1" Type="http://schemas.openxmlformats.org/officeDocument/2006/relationships/slideLayout" Target="../slideLayouts/slideLayout15.xml"/><Relationship Id="rId6" Type="http://schemas.openxmlformats.org/officeDocument/2006/relationships/chart" Target="../charts/chart5.xml"/><Relationship Id="rId5" Type="http://schemas.openxmlformats.org/officeDocument/2006/relationships/image" Target="../media/image22.png"/><Relationship Id="rId4" Type="http://schemas.microsoft.com/office/2014/relationships/chartEx" Target="../charts/chartEx1.xml"/></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hyperlink" Target="https://agdertall.no/utdanning-og-kompetanse/grunnskole/#grunnskolepoeng" TargetMode="External"/><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chart" Target="../charts/chart6.xml"/></Relationships>
</file>

<file path=ppt/slides/_rels/slide13.xml.rels><?xml version="1.0" encoding="UTF-8" standalone="yes"?>
<Relationships xmlns="http://schemas.openxmlformats.org/package/2006/relationships"><Relationship Id="rId3" Type="http://schemas.openxmlformats.org/officeDocument/2006/relationships/hyperlink" Target="https://agdertall.no/utdanning-og-kompetanse/videregaende-opplaring/#gjennomforing-vgo" TargetMode="External"/><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chart" Target="../charts/chart7.xml"/></Relationships>
</file>

<file path=ppt/slides/_rels/slide1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0.xml"/><Relationship Id="rId1" Type="http://schemas.openxmlformats.org/officeDocument/2006/relationships/slideLayout" Target="../slideLayouts/slideLayout15.xml"/><Relationship Id="rId4" Type="http://schemas.openxmlformats.org/officeDocument/2006/relationships/chart" Target="../charts/chart9.xml"/></Relationships>
</file>

<file path=ppt/slides/_rels/slide15.xml.rels><?xml version="1.0" encoding="UTF-8" standalone="yes"?>
<Relationships xmlns="http://schemas.openxmlformats.org/package/2006/relationships"><Relationship Id="rId3" Type="http://schemas.openxmlformats.org/officeDocument/2006/relationships/hyperlink" Target="https://agdertall.no/arbeidsliv/sysselsetting/#andel-av-sysselsatte-som-jobber-deltid" TargetMode="External"/><Relationship Id="rId2" Type="http://schemas.openxmlformats.org/officeDocument/2006/relationships/notesSlide" Target="../notesSlides/notesSlide11.xml"/><Relationship Id="rId1" Type="http://schemas.openxmlformats.org/officeDocument/2006/relationships/slideLayout" Target="../slideLayouts/slideLayout26.xml"/><Relationship Id="rId5" Type="http://schemas.openxmlformats.org/officeDocument/2006/relationships/image" Target="../media/image32.jpeg"/><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12.xml"/><Relationship Id="rId1" Type="http://schemas.openxmlformats.org/officeDocument/2006/relationships/slideLayout" Target="../slideLayouts/slideLayout26.xml"/><Relationship Id="rId4" Type="http://schemas.openxmlformats.org/officeDocument/2006/relationships/chart" Target="../charts/chart10.xml"/></Relationships>
</file>

<file path=ppt/slides/_rels/slide17.xml.rels><?xml version="1.0" encoding="UTF-8" standalone="yes"?>
<Relationships xmlns="http://schemas.openxmlformats.org/package/2006/relationships"><Relationship Id="rId3" Type="http://schemas.openxmlformats.org/officeDocument/2006/relationships/hyperlink" Target="https://agdertall.no/arbeidsliv/inntekt/#vedvarende-lavinntekt" TargetMode="External"/><Relationship Id="rId2" Type="http://schemas.openxmlformats.org/officeDocument/2006/relationships/notesSlide" Target="../notesSlides/notesSlide13.xml"/><Relationship Id="rId1" Type="http://schemas.openxmlformats.org/officeDocument/2006/relationships/slideLayout" Target="../slideLayouts/slideLayout26.xml"/><Relationship Id="rId4" Type="http://schemas.openxmlformats.org/officeDocument/2006/relationships/chart" Target="../charts/chart11.xml"/></Relationships>
</file>

<file path=ppt/slides/_rels/slide18.xml.rels><?xml version="1.0" encoding="UTF-8" standalone="yes"?>
<Relationships xmlns="http://schemas.openxmlformats.org/package/2006/relationships"><Relationship Id="rId3" Type="http://schemas.openxmlformats.org/officeDocument/2006/relationships/hyperlink" Target="https://agdertall.no/helse/sykdommer-og-plager/#tannhelse" TargetMode="External"/><Relationship Id="rId2" Type="http://schemas.openxmlformats.org/officeDocument/2006/relationships/notesSlide" Target="../notesSlides/notesSlide14.xml"/><Relationship Id="rId1" Type="http://schemas.openxmlformats.org/officeDocument/2006/relationships/slideLayout" Target="../slideLayouts/slideLayout26.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chart" Target="../charts/chart12.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12.jpg"/></Relationships>
</file>

<file path=ppt/slides/_rels/slide20.xml.rels><?xml version="1.0" encoding="UTF-8" standalone="yes"?>
<Relationships xmlns="http://schemas.openxmlformats.org/package/2006/relationships"><Relationship Id="rId3" Type="http://schemas.openxmlformats.org/officeDocument/2006/relationships/hyperlink" Target="https://agdertall.no/klima/utslipp-klimagasser/" TargetMode="External"/><Relationship Id="rId2" Type="http://schemas.openxmlformats.org/officeDocument/2006/relationships/notesSlide" Target="../notesSlides/notesSlide16.xml"/><Relationship Id="rId1" Type="http://schemas.openxmlformats.org/officeDocument/2006/relationships/slideLayout" Target="../slideLayouts/slideLayout15.xml"/><Relationship Id="rId4" Type="http://schemas.openxmlformats.org/officeDocument/2006/relationships/chart" Target="../charts/chart15.xml"/></Relationships>
</file>

<file path=ppt/slides/_rels/slide21.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svg"/><Relationship Id="rId3" Type="http://schemas.openxmlformats.org/officeDocument/2006/relationships/hyperlink" Target="https://agdertall.no/klima/klimagassreduksjoner/" TargetMode="External"/><Relationship Id="rId7" Type="http://schemas.openxmlformats.org/officeDocument/2006/relationships/image" Target="../media/image40.svg"/><Relationship Id="rId12" Type="http://schemas.openxmlformats.org/officeDocument/2006/relationships/image" Target="../media/image45.png"/><Relationship Id="rId2" Type="http://schemas.openxmlformats.org/officeDocument/2006/relationships/notesSlide" Target="../notesSlides/notesSlide17.xml"/><Relationship Id="rId16" Type="http://schemas.openxmlformats.org/officeDocument/2006/relationships/chart" Target="../charts/chart16.xml"/><Relationship Id="rId1" Type="http://schemas.openxmlformats.org/officeDocument/2006/relationships/slideLayout" Target="../slideLayouts/slideLayout15.x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38.svg"/><Relationship Id="rId15" Type="http://schemas.openxmlformats.org/officeDocument/2006/relationships/image" Target="../media/image48.sv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svg"/><Relationship Id="rId14" Type="http://schemas.openxmlformats.org/officeDocument/2006/relationships/image" Target="../media/image47.png"/></Relationships>
</file>

<file path=ppt/slides/_rels/slide22.xml.rels><?xml version="1.0" encoding="UTF-8" standalone="yes"?>
<Relationships xmlns="http://schemas.openxmlformats.org/package/2006/relationships"><Relationship Id="rId8" Type="http://schemas.openxmlformats.org/officeDocument/2006/relationships/image" Target="../media/image53.emf"/><Relationship Id="rId3" Type="http://schemas.openxmlformats.org/officeDocument/2006/relationships/notesSlide" Target="../notesSlides/notesSlide18.xml"/><Relationship Id="rId7" Type="http://schemas.openxmlformats.org/officeDocument/2006/relationships/image" Target="../media/image52.emf"/><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51.emf"/><Relationship Id="rId5" Type="http://schemas.openxmlformats.org/officeDocument/2006/relationships/image" Target="../media/image50.emf"/><Relationship Id="rId4" Type="http://schemas.openxmlformats.org/officeDocument/2006/relationships/image" Target="../media/image49.png"/></Relationships>
</file>

<file path=ppt/slides/_rels/slide2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9.xml"/><Relationship Id="rId1" Type="http://schemas.openxmlformats.org/officeDocument/2006/relationships/slideLayout" Target="../slideLayouts/slideLayout26.xml"/><Relationship Id="rId4" Type="http://schemas.openxmlformats.org/officeDocument/2006/relationships/chart" Target="../charts/chart17.xml"/></Relationships>
</file>

<file path=ppt/slides/_rels/slide24.xml.rels><?xml version="1.0" encoding="UTF-8" standalone="yes"?>
<Relationships xmlns="http://schemas.openxmlformats.org/package/2006/relationships"><Relationship Id="rId3" Type="http://schemas.openxmlformats.org/officeDocument/2006/relationships/hyperlink" Target="https://agdertall.no/areal-og-natur/arealregnskap/" TargetMode="External"/><Relationship Id="rId2" Type="http://schemas.openxmlformats.org/officeDocument/2006/relationships/notesSlide" Target="../notesSlides/notesSlide20.xml"/><Relationship Id="rId1" Type="http://schemas.openxmlformats.org/officeDocument/2006/relationships/slideLayout" Target="../slideLayouts/slideLayout26.xml"/><Relationship Id="rId4" Type="http://schemas.openxmlformats.org/officeDocument/2006/relationships/image" Target="../media/image55.png"/></Relationships>
</file>

<file path=ppt/slides/_rels/slide2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1.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5.xml"/><Relationship Id="rId5" Type="http://schemas.openxmlformats.org/officeDocument/2006/relationships/hyperlink" Target="https://agdertall.no/befolkning/befolkningsutvikling/" TargetMode="External"/><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hyperlink" Target="https://agderfk.maps.arcgis.com/apps/instant/media/index.html?appid=df4d1214bd3941d19d7a0b68de9145b1"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agdertall.no/bolig-og-husholdninger/bolig/" TargetMode="External"/><Relationship Id="rId2" Type="http://schemas.openxmlformats.org/officeDocument/2006/relationships/notesSlide" Target="../notesSlides/notesSlide4.xml"/><Relationship Id="rId1" Type="http://schemas.openxmlformats.org/officeDocument/2006/relationships/slideLayout" Target="../slideLayouts/slideLayout26.xml"/><Relationship Id="rId5" Type="http://schemas.openxmlformats.org/officeDocument/2006/relationships/chart" Target="../charts/chart2.xml"/><Relationship Id="rId4"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20.jpeg"/></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hyperlink" Target="https://agdertall.no/naringsliv/pendling/" TargetMode="External"/><Relationship Id="rId4" Type="http://schemas.openxmlformats.org/officeDocument/2006/relationships/image" Target="../media/image22.jpeg"/></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p:txBody>
          <a:bodyPr/>
          <a:lstStyle/>
          <a:p>
            <a:r>
              <a:rPr lang="nb-NO" dirty="0"/>
              <a:t>Tvedestrand</a:t>
            </a:r>
          </a:p>
        </p:txBody>
      </p:sp>
      <p:sp>
        <p:nvSpPr>
          <p:cNvPr id="3" name="Undertittel 2"/>
          <p:cNvSpPr>
            <a:spLocks noGrp="1"/>
          </p:cNvSpPr>
          <p:nvPr>
            <p:ph type="subTitle" idx="1"/>
          </p:nvPr>
        </p:nvSpPr>
        <p:spPr/>
        <p:txBody>
          <a:bodyPr/>
          <a:lstStyle/>
          <a:p>
            <a:endParaRPr lang="nb-NO" dirty="0"/>
          </a:p>
          <a:p>
            <a:r>
              <a:rPr lang="nb-NO" dirty="0"/>
              <a:t>Utvalgt statistikk for gjennomgående tema i regionplan Agder</a:t>
            </a:r>
          </a:p>
          <a:p>
            <a:endParaRPr lang="nb-NO" dirty="0"/>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99712" y="5486400"/>
            <a:ext cx="1130400" cy="1130400"/>
          </a:xfrm>
          <a:prstGeom prst="rect">
            <a:avLst/>
          </a:prstGeom>
        </p:spPr>
      </p:pic>
    </p:spTree>
    <p:extLst>
      <p:ext uri="{BB962C8B-B14F-4D97-AF65-F5344CB8AC3E}">
        <p14:creationId xmlns:p14="http://schemas.microsoft.com/office/powerpoint/2010/main" val="1115595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08349" y="314130"/>
            <a:ext cx="10153651" cy="685606"/>
          </a:xfrm>
        </p:spPr>
        <p:txBody>
          <a:bodyPr/>
          <a:lstStyle/>
          <a:p>
            <a:r>
              <a:rPr lang="nb-NO" dirty="0"/>
              <a:t>Næringsstruktur – 4. kvartal 2023</a:t>
            </a:r>
          </a:p>
        </p:txBody>
      </p:sp>
      <p:sp>
        <p:nvSpPr>
          <p:cNvPr id="10" name="TekstSylinder 9"/>
          <p:cNvSpPr txBox="1"/>
          <p:nvPr/>
        </p:nvSpPr>
        <p:spPr>
          <a:xfrm>
            <a:off x="508349" y="4958157"/>
            <a:ext cx="11510823" cy="1077218"/>
          </a:xfrm>
          <a:prstGeom prst="rect">
            <a:avLst/>
          </a:prstGeom>
          <a:noFill/>
        </p:spPr>
        <p:txBody>
          <a:bodyPr wrap="square" rtlCol="0">
            <a:spAutoFit/>
          </a:bodyPr>
          <a:lstStyle/>
          <a:p>
            <a:r>
              <a:rPr lang="nb-NO" sz="1600" dirty="0" err="1"/>
              <a:t>Teamtec</a:t>
            </a:r>
            <a:r>
              <a:rPr lang="nb-NO" sz="1600" dirty="0"/>
              <a:t> AS og </a:t>
            </a:r>
            <a:r>
              <a:rPr lang="nb-NO" sz="1600" dirty="0" err="1"/>
              <a:t>Ertec</a:t>
            </a:r>
            <a:r>
              <a:rPr lang="nb-NO" sz="1600" dirty="0"/>
              <a:t> AS er de største industribedriftene i Tvedestrand (hhv. Maskin- og metallvareindustri.</a:t>
            </a:r>
          </a:p>
          <a:p>
            <a:endParaRPr lang="nb-NO" sz="1600" dirty="0"/>
          </a:p>
          <a:p>
            <a:r>
              <a:rPr lang="nb-NO" sz="1600" dirty="0"/>
              <a:t>Olsen Erling AS (Rørleggerarbeid) og </a:t>
            </a:r>
            <a:r>
              <a:rPr lang="nb-NO" sz="1600" dirty="0" err="1"/>
              <a:t>Fagelektro</a:t>
            </a:r>
            <a:r>
              <a:rPr lang="nb-NO" sz="1600" dirty="0"/>
              <a:t> AS </a:t>
            </a:r>
            <a:r>
              <a:rPr lang="nb-NO" sz="1600" dirty="0" err="1"/>
              <a:t>avd</a:t>
            </a:r>
            <a:r>
              <a:rPr lang="nb-NO" sz="1600" dirty="0"/>
              <a:t> Tvedestrand (Elektrisk installasjonsarbeid) er de største bygg- og anleggsbedriftene.</a:t>
            </a:r>
          </a:p>
        </p:txBody>
      </p:sp>
      <p:sp>
        <p:nvSpPr>
          <p:cNvPr id="5" name="TekstSylinder 4">
            <a:extLst>
              <a:ext uri="{FF2B5EF4-FFF2-40B4-BE49-F238E27FC236}">
                <a16:creationId xmlns:a16="http://schemas.microsoft.com/office/drawing/2014/main" id="{3CA819FE-FFDB-92CB-C35A-6A4FCDDF7E63}"/>
              </a:ext>
            </a:extLst>
          </p:cNvPr>
          <p:cNvSpPr txBox="1"/>
          <p:nvPr/>
        </p:nvSpPr>
        <p:spPr>
          <a:xfrm>
            <a:off x="9300308" y="6228541"/>
            <a:ext cx="2846216" cy="369332"/>
          </a:xfrm>
          <a:prstGeom prst="rect">
            <a:avLst/>
          </a:prstGeom>
          <a:noFill/>
        </p:spPr>
        <p:txBody>
          <a:bodyPr wrap="square" rtlCol="0">
            <a:spAutoFit/>
          </a:bodyPr>
          <a:lstStyle/>
          <a:p>
            <a:pPr algn="l"/>
            <a:r>
              <a:rPr lang="nb-NO" dirty="0">
                <a:hlinkClick r:id="rId3"/>
              </a:rPr>
              <a:t>Rapport næringsstruktur</a:t>
            </a:r>
            <a:endParaRPr lang="nb-NO" dirty="0"/>
          </a:p>
        </p:txBody>
      </p:sp>
      <mc:AlternateContent xmlns:mc="http://schemas.openxmlformats.org/markup-compatibility/2006" xmlns:cx1="http://schemas.microsoft.com/office/drawing/2015/9/8/chartex">
        <mc:Choice Requires="cx1">
          <p:graphicFrame>
            <p:nvGraphicFramePr>
              <p:cNvPr id="6" name="Diagram 5" descr="Treflisdiagram som viser næringsstrukturen i kommunen.">
                <a:extLst>
                  <a:ext uri="{FF2B5EF4-FFF2-40B4-BE49-F238E27FC236}">
                    <a16:creationId xmlns:a16="http://schemas.microsoft.com/office/drawing/2014/main" id="{54099CEB-1703-8B3F-4851-D73D649045F6}"/>
                  </a:ext>
                </a:extLst>
              </p:cNvPr>
              <p:cNvGraphicFramePr/>
              <p:nvPr>
                <p:extLst>
                  <p:ext uri="{D42A27DB-BD31-4B8C-83A1-F6EECF244321}">
                    <p14:modId xmlns:p14="http://schemas.microsoft.com/office/powerpoint/2010/main" val="2946465881"/>
                  </p:ext>
                </p:extLst>
              </p:nvPr>
            </p:nvGraphicFramePr>
            <p:xfrm>
              <a:off x="508349" y="1252984"/>
              <a:ext cx="5005389" cy="3531259"/>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6" name="Diagram 5" descr="Treflisdiagram som viser næringsstrukturen i kommunen.">
                <a:extLst>
                  <a:ext uri="{FF2B5EF4-FFF2-40B4-BE49-F238E27FC236}">
                    <a16:creationId xmlns:a16="http://schemas.microsoft.com/office/drawing/2014/main" id="{54099CEB-1703-8B3F-4851-D73D649045F6}"/>
                  </a:ext>
                </a:extLst>
              </p:cNvPr>
              <p:cNvPicPr>
                <a:picLocks noGrp="1" noRot="1" noChangeAspect="1" noMove="1" noResize="1" noEditPoints="1" noAdjustHandles="1" noChangeArrowheads="1" noChangeShapeType="1"/>
              </p:cNvPicPr>
              <p:nvPr/>
            </p:nvPicPr>
            <p:blipFill>
              <a:blip r:embed="rId5"/>
              <a:stretch>
                <a:fillRect/>
              </a:stretch>
            </p:blipFill>
            <p:spPr>
              <a:xfrm>
                <a:off x="508349" y="1252984"/>
                <a:ext cx="5005389" cy="3531259"/>
              </a:xfrm>
              <a:prstGeom prst="rect">
                <a:avLst/>
              </a:prstGeom>
            </p:spPr>
          </p:pic>
        </mc:Fallback>
      </mc:AlternateContent>
      <p:graphicFrame>
        <p:nvGraphicFramePr>
          <p:cNvPr id="3" name="Diagram 2" descr="Linjediagram som viser antall sysselsatte i de viktigste industri, samt bygge- og anleggsvirksomhetene (SSB, tabell 13470).">
            <a:extLst>
              <a:ext uri="{FF2B5EF4-FFF2-40B4-BE49-F238E27FC236}">
                <a16:creationId xmlns:a16="http://schemas.microsoft.com/office/drawing/2014/main" id="{24E4A504-A222-3225-2904-7772932E33DE}"/>
              </a:ext>
            </a:extLst>
          </p:cNvPr>
          <p:cNvGraphicFramePr>
            <a:graphicFrameLocks/>
          </p:cNvGraphicFramePr>
          <p:nvPr>
            <p:extLst>
              <p:ext uri="{D42A27DB-BD31-4B8C-83A1-F6EECF244321}">
                <p14:modId xmlns:p14="http://schemas.microsoft.com/office/powerpoint/2010/main" val="595118311"/>
              </p:ext>
            </p:extLst>
          </p:nvPr>
        </p:nvGraphicFramePr>
        <p:xfrm>
          <a:off x="5680950" y="1367037"/>
          <a:ext cx="6465574" cy="3281965"/>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6210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948145"/>
            <a:ext cx="5794209" cy="1021481"/>
          </a:xfrm>
        </p:spPr>
        <p:txBody>
          <a:bodyPr/>
          <a:lstStyle/>
          <a:p>
            <a:r>
              <a:rPr lang="nb-NO"/>
              <a:t>Levekår, likestilling, inkludering og mangfold</a:t>
            </a:r>
          </a:p>
        </p:txBody>
      </p:sp>
      <p:sp>
        <p:nvSpPr>
          <p:cNvPr id="3" name="Undertittel 2"/>
          <p:cNvSpPr>
            <a:spLocks noGrp="1"/>
          </p:cNvSpPr>
          <p:nvPr>
            <p:ph type="subTitle" idx="1"/>
          </p:nvPr>
        </p:nvSpPr>
        <p:spPr>
          <a:xfrm>
            <a:off x="1193800" y="3135253"/>
            <a:ext cx="10171112" cy="1541688"/>
          </a:xfrm>
        </p:spPr>
        <p:txBody>
          <a:bodyPr/>
          <a:lstStyle/>
          <a:p>
            <a:r>
              <a:rPr lang="nb-NO" i="1"/>
              <a:t>Regionplan Agder 2030 tegner et fremtidsbilde der Agder er en attraktiv region å bo i, jobbe i og besøke. Byene, tettstedene og bygdesentrene er trygge og attraktive steder med identitet og innovasjonskraft. Stedene er kompakte, tilrettelagt for alle, uansett funksjonsevne, og ivaretar behovene som både minoritetsgrupper og en stadig økende andel eldre har.</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9981" y="5496713"/>
            <a:ext cx="1130643" cy="1130643"/>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68721" y="5501350"/>
            <a:ext cx="1130643" cy="1130643"/>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37461" y="5496713"/>
            <a:ext cx="1130643" cy="1130643"/>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01748" y="5496712"/>
            <a:ext cx="1130643" cy="1130643"/>
          </a:xfrm>
          <a:prstGeom prst="rect">
            <a:avLst/>
          </a:prstGeom>
        </p:spPr>
      </p:pic>
      <p:pic>
        <p:nvPicPr>
          <p:cNvPr id="8" name="Bilde 7">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74941" y="5496711"/>
            <a:ext cx="1130643" cy="1130643"/>
          </a:xfrm>
          <a:prstGeom prst="rect">
            <a:avLst/>
          </a:prstGeom>
        </p:spPr>
      </p:pic>
      <p:pic>
        <p:nvPicPr>
          <p:cNvPr id="9" name="Bilde 8">
            <a:extLs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34775" y="5496710"/>
            <a:ext cx="1130643" cy="1130643"/>
          </a:xfrm>
          <a:prstGeom prst="rect">
            <a:avLst/>
          </a:prstGeom>
        </p:spPr>
      </p:pic>
      <p:pic>
        <p:nvPicPr>
          <p:cNvPr id="10" name="Bilde 9">
            <a:extLs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12421" y="5496710"/>
            <a:ext cx="1130643" cy="1130643"/>
          </a:xfrm>
          <a:prstGeom prst="rect">
            <a:avLst/>
          </a:prstGeom>
        </p:spPr>
      </p:pic>
      <p:pic>
        <p:nvPicPr>
          <p:cNvPr id="11" name="Bilde 10">
            <a:extLs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690067" y="5496953"/>
            <a:ext cx="1130400" cy="1130400"/>
          </a:xfrm>
          <a:prstGeom prst="rect">
            <a:avLst/>
          </a:prstGeom>
        </p:spPr>
      </p:pic>
    </p:spTree>
    <p:extLst>
      <p:ext uri="{BB962C8B-B14F-4D97-AF65-F5344CB8AC3E}">
        <p14:creationId xmlns:p14="http://schemas.microsoft.com/office/powerpoint/2010/main" val="150220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6862" y="327929"/>
            <a:ext cx="10153651" cy="685606"/>
          </a:xfrm>
        </p:spPr>
        <p:txBody>
          <a:bodyPr/>
          <a:lstStyle/>
          <a:p>
            <a:r>
              <a:rPr lang="nb-NO" dirty="0"/>
              <a:t>Grunnskolepoeng</a:t>
            </a:r>
          </a:p>
        </p:txBody>
      </p:sp>
      <p:sp>
        <p:nvSpPr>
          <p:cNvPr id="3" name="Plassholder for innhold 2"/>
          <p:cNvSpPr>
            <a:spLocks noGrp="1"/>
          </p:cNvSpPr>
          <p:nvPr>
            <p:ph idx="1"/>
          </p:nvPr>
        </p:nvSpPr>
        <p:spPr>
          <a:xfrm>
            <a:off x="516862" y="1300163"/>
            <a:ext cx="4316396" cy="4066968"/>
          </a:xfrm>
        </p:spPr>
        <p:txBody>
          <a:bodyPr/>
          <a:lstStyle/>
          <a:p>
            <a:r>
              <a:rPr lang="nb-NO" sz="2000" dirty="0"/>
              <a:t>Tvedestrand ligger over snittet for fylket for grunnskolepoeng i 2020 og 2022, likt med snittet i 2021, og under snittet i 2023 og 2024.</a:t>
            </a:r>
          </a:p>
          <a:p>
            <a:endParaRPr lang="nb-NO" sz="2000" dirty="0"/>
          </a:p>
          <a:p>
            <a:r>
              <a:rPr lang="nb-NO" sz="2000" dirty="0"/>
              <a:t>Grunnskolepoengene for 2020, 2021 og 2022 er basert på standpunkt, siden eksamener ble avlyst under pandemien. Dette gjør at grunnskolepoengene for disse årene ikke uten videre kan sammenliknes med andre år.</a:t>
            </a:r>
          </a:p>
        </p:txBody>
      </p:sp>
      <p:sp>
        <p:nvSpPr>
          <p:cNvPr id="6" name="TekstSylinder 5">
            <a:extLst>
              <a:ext uri="{FF2B5EF4-FFF2-40B4-BE49-F238E27FC236}">
                <a16:creationId xmlns:a16="http://schemas.microsoft.com/office/drawing/2014/main" id="{9E47B1A4-40A9-6245-1859-51F0D3DDBE40}"/>
              </a:ext>
            </a:extLst>
          </p:cNvPr>
          <p:cNvSpPr txBox="1"/>
          <p:nvPr/>
        </p:nvSpPr>
        <p:spPr>
          <a:xfrm>
            <a:off x="693477" y="5385413"/>
            <a:ext cx="3016078" cy="369332"/>
          </a:xfrm>
          <a:prstGeom prst="rect">
            <a:avLst/>
          </a:prstGeom>
          <a:noFill/>
        </p:spPr>
        <p:txBody>
          <a:bodyPr wrap="square" rtlCol="0">
            <a:spAutoFit/>
          </a:bodyPr>
          <a:lstStyle/>
          <a:p>
            <a:pPr algn="l"/>
            <a:r>
              <a:rPr lang="nb-NO" dirty="0">
                <a:hlinkClick r:id="rId3"/>
              </a:rPr>
              <a:t>Rapport grunnskolepoeng</a:t>
            </a:r>
            <a:endParaRPr lang="nb-NO" dirty="0"/>
          </a:p>
        </p:txBody>
      </p:sp>
      <p:graphicFrame>
        <p:nvGraphicFramePr>
          <p:cNvPr id="5" name="Diagram 4" descr="Diagram som viser grunnskolepoeng for begge kjønn, siste 5 år. Sammenligner kommune og Agder.">
            <a:extLst>
              <a:ext uri="{FF2B5EF4-FFF2-40B4-BE49-F238E27FC236}">
                <a16:creationId xmlns:a16="http://schemas.microsoft.com/office/drawing/2014/main" id="{78039546-200C-51F9-A3B8-CF9627E87368}"/>
              </a:ext>
            </a:extLst>
          </p:cNvPr>
          <p:cNvGraphicFramePr>
            <a:graphicFrameLocks/>
          </p:cNvGraphicFramePr>
          <p:nvPr>
            <p:extLst>
              <p:ext uri="{D42A27DB-BD31-4B8C-83A1-F6EECF244321}">
                <p14:modId xmlns:p14="http://schemas.microsoft.com/office/powerpoint/2010/main" val="2811360505"/>
              </p:ext>
            </p:extLst>
          </p:nvPr>
        </p:nvGraphicFramePr>
        <p:xfrm>
          <a:off x="5717255" y="1300163"/>
          <a:ext cx="6219826" cy="415194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3548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695910" y="250429"/>
            <a:ext cx="10153651" cy="685606"/>
          </a:xfrm>
        </p:spPr>
        <p:txBody>
          <a:bodyPr/>
          <a:lstStyle/>
          <a:p>
            <a:r>
              <a:rPr lang="nb-NO" dirty="0"/>
              <a:t>Gjennomføring videregående opplæring</a:t>
            </a:r>
          </a:p>
        </p:txBody>
      </p:sp>
      <p:sp>
        <p:nvSpPr>
          <p:cNvPr id="3" name="TekstSylinder 2">
            <a:extLst>
              <a:ext uri="{FF2B5EF4-FFF2-40B4-BE49-F238E27FC236}">
                <a16:creationId xmlns:a16="http://schemas.microsoft.com/office/drawing/2014/main" id="{0E208661-40B4-4483-9A05-FE473BED7235}"/>
              </a:ext>
            </a:extLst>
          </p:cNvPr>
          <p:cNvSpPr txBox="1"/>
          <p:nvPr/>
        </p:nvSpPr>
        <p:spPr>
          <a:xfrm>
            <a:off x="402912" y="1174007"/>
            <a:ext cx="4731795" cy="2031325"/>
          </a:xfrm>
          <a:prstGeom prst="rect">
            <a:avLst/>
          </a:prstGeom>
          <a:noFill/>
        </p:spPr>
        <p:txBody>
          <a:bodyPr wrap="square" rtlCol="0">
            <a:spAutoFit/>
          </a:bodyPr>
          <a:lstStyle/>
          <a:p>
            <a:pPr marL="285750" indent="-285750">
              <a:buFont typeface="Arial" panose="020B0604020202020204" pitchFamily="34" charset="0"/>
              <a:buChar char="•"/>
            </a:pPr>
            <a:r>
              <a:rPr lang="nb-NO" dirty="0"/>
              <a:t>For 2017-kullet var gjennomførings-graden i kommunen 84,7 %. Dette er høyere enn snittet for Agder.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Tabellen under viser fordeling av 1. ønske-søkere til </a:t>
            </a:r>
            <a:r>
              <a:rPr lang="nb-NO" dirty="0" err="1"/>
              <a:t>vgo</a:t>
            </a:r>
            <a:r>
              <a:rPr lang="nb-NO" dirty="0"/>
              <a:t> for 2023.</a:t>
            </a:r>
          </a:p>
        </p:txBody>
      </p:sp>
      <p:graphicFrame>
        <p:nvGraphicFramePr>
          <p:cNvPr id="5" name="Tabell 4">
            <a:extLst>
              <a:ext uri="{FF2B5EF4-FFF2-40B4-BE49-F238E27FC236}">
                <a16:creationId xmlns:a16="http://schemas.microsoft.com/office/drawing/2014/main" id="{69A96E7B-2E5C-0EF0-E6A9-A9E370BCA5D3}"/>
              </a:ext>
            </a:extLst>
          </p:cNvPr>
          <p:cNvGraphicFramePr>
            <a:graphicFrameLocks noGrp="1"/>
          </p:cNvGraphicFramePr>
          <p:nvPr>
            <p:extLst>
              <p:ext uri="{D42A27DB-BD31-4B8C-83A1-F6EECF244321}">
                <p14:modId xmlns:p14="http://schemas.microsoft.com/office/powerpoint/2010/main" val="2342675607"/>
              </p:ext>
            </p:extLst>
          </p:nvPr>
        </p:nvGraphicFramePr>
        <p:xfrm>
          <a:off x="695910" y="3441498"/>
          <a:ext cx="4038600" cy="1546860"/>
        </p:xfrm>
        <a:graphic>
          <a:graphicData uri="http://schemas.openxmlformats.org/drawingml/2006/table">
            <a:tbl>
              <a:tblPr firstRow="1"/>
              <a:tblGrid>
                <a:gridCol w="1054100">
                  <a:extLst>
                    <a:ext uri="{9D8B030D-6E8A-4147-A177-3AD203B41FA5}">
                      <a16:colId xmlns:a16="http://schemas.microsoft.com/office/drawing/2014/main" val="4060268330"/>
                    </a:ext>
                  </a:extLst>
                </a:gridCol>
                <a:gridCol w="1054100">
                  <a:extLst>
                    <a:ext uri="{9D8B030D-6E8A-4147-A177-3AD203B41FA5}">
                      <a16:colId xmlns:a16="http://schemas.microsoft.com/office/drawing/2014/main" val="164148316"/>
                    </a:ext>
                  </a:extLst>
                </a:gridCol>
                <a:gridCol w="965200">
                  <a:extLst>
                    <a:ext uri="{9D8B030D-6E8A-4147-A177-3AD203B41FA5}">
                      <a16:colId xmlns:a16="http://schemas.microsoft.com/office/drawing/2014/main" val="2791556029"/>
                    </a:ext>
                  </a:extLst>
                </a:gridCol>
                <a:gridCol w="965200">
                  <a:extLst>
                    <a:ext uri="{9D8B030D-6E8A-4147-A177-3AD203B41FA5}">
                      <a16:colId xmlns:a16="http://schemas.microsoft.com/office/drawing/2014/main" val="3314683404"/>
                    </a:ext>
                  </a:extLst>
                </a:gridCol>
              </a:tblGrid>
              <a:tr h="220980">
                <a:tc>
                  <a:txBody>
                    <a:bodyPr/>
                    <a:lstStyle/>
                    <a:p>
                      <a:pPr algn="ctr" fontAlgn="b"/>
                      <a:r>
                        <a:rPr lang="nb-NO" sz="1300" b="1" i="0" u="none" strike="noStrike">
                          <a:solidFill>
                            <a:srgbClr val="FFFFFF"/>
                          </a:solidFill>
                          <a:effectLst/>
                          <a:latin typeface="Calibri" panose="020F0502020204030204" pitchFamily="34" charset="0"/>
                        </a:rPr>
                        <a:t>Utval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Yrkesfa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Studieforb.</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extLst>
                  <a:ext uri="{0D108BD9-81ED-4DB2-BD59-A6C34878D82A}">
                    <a16:rowId xmlns:a16="http://schemas.microsoft.com/office/drawing/2014/main" val="3998766021"/>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Tvedestrand</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54,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45,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2184090691"/>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40,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9,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80335981"/>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67,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32,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155631375"/>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Agder</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56,7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43,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560870390"/>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0,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49,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16761858"/>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62,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37,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39999691"/>
                  </a:ext>
                </a:extLst>
              </a:tr>
            </a:tbl>
          </a:graphicData>
        </a:graphic>
      </p:graphicFrame>
      <p:sp>
        <p:nvSpPr>
          <p:cNvPr id="2" name="TekstSylinder 1"/>
          <p:cNvSpPr txBox="1"/>
          <p:nvPr/>
        </p:nvSpPr>
        <p:spPr>
          <a:xfrm>
            <a:off x="5627077" y="6199833"/>
            <a:ext cx="5345723" cy="276999"/>
          </a:xfrm>
          <a:prstGeom prst="rect">
            <a:avLst/>
          </a:prstGeom>
          <a:noFill/>
        </p:spPr>
        <p:txBody>
          <a:bodyPr wrap="square" rtlCol="0">
            <a:spAutoFit/>
          </a:bodyPr>
          <a:lstStyle/>
          <a:p>
            <a:pPr algn="l"/>
            <a:r>
              <a:rPr lang="nb-NO" sz="1200" dirty="0"/>
              <a:t>Eventuelle 0-verdier skyldes at bakgrunnsdata er undertrykt </a:t>
            </a:r>
            <a:r>
              <a:rPr lang="nb-NO" sz="1200" dirty="0" err="1"/>
              <a:t>pga</a:t>
            </a:r>
            <a:r>
              <a:rPr lang="nb-NO" sz="1200" dirty="0"/>
              <a:t> lite utvalg.</a:t>
            </a:r>
          </a:p>
        </p:txBody>
      </p:sp>
      <p:sp>
        <p:nvSpPr>
          <p:cNvPr id="4" name="TekstSylinder 3">
            <a:extLst>
              <a:ext uri="{FF2B5EF4-FFF2-40B4-BE49-F238E27FC236}">
                <a16:creationId xmlns:a16="http://schemas.microsoft.com/office/drawing/2014/main" id="{A2C045A3-1F4B-4246-91CD-7D3279912321}"/>
              </a:ext>
            </a:extLst>
          </p:cNvPr>
          <p:cNvSpPr txBox="1"/>
          <p:nvPr/>
        </p:nvSpPr>
        <p:spPr>
          <a:xfrm>
            <a:off x="695910" y="5367121"/>
            <a:ext cx="2565550" cy="369332"/>
          </a:xfrm>
          <a:prstGeom prst="rect">
            <a:avLst/>
          </a:prstGeom>
          <a:noFill/>
        </p:spPr>
        <p:txBody>
          <a:bodyPr wrap="square" rtlCol="0">
            <a:spAutoFit/>
          </a:bodyPr>
          <a:lstStyle/>
          <a:p>
            <a:pPr algn="l"/>
            <a:r>
              <a:rPr lang="nb-NO" dirty="0">
                <a:hlinkClick r:id="rId3"/>
              </a:rPr>
              <a:t>Rapport gjennomføring</a:t>
            </a:r>
            <a:endParaRPr lang="nb-NO" dirty="0"/>
          </a:p>
        </p:txBody>
      </p:sp>
      <p:graphicFrame>
        <p:nvGraphicFramePr>
          <p:cNvPr id="7" name="Diagram 6" descr="Stolpediagram som viser gjennomføring videregående opplæring. Tidsserie. Sammenligner Agder og kommune, begge kjønn og alle utdanningsprogram.">
            <a:extLst>
              <a:ext uri="{FF2B5EF4-FFF2-40B4-BE49-F238E27FC236}">
                <a16:creationId xmlns:a16="http://schemas.microsoft.com/office/drawing/2014/main" id="{20743EAD-2704-49A5-4317-249C8750BC66}"/>
              </a:ext>
            </a:extLst>
          </p:cNvPr>
          <p:cNvGraphicFramePr>
            <a:graphicFrameLocks/>
          </p:cNvGraphicFramePr>
          <p:nvPr>
            <p:extLst>
              <p:ext uri="{D42A27DB-BD31-4B8C-83A1-F6EECF244321}">
                <p14:modId xmlns:p14="http://schemas.microsoft.com/office/powerpoint/2010/main" val="4048117115"/>
              </p:ext>
            </p:extLst>
          </p:nvPr>
        </p:nvGraphicFramePr>
        <p:xfrm>
          <a:off x="5134707" y="1328737"/>
          <a:ext cx="6922844" cy="365962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68334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355230" y="95933"/>
            <a:ext cx="10153651" cy="685606"/>
          </a:xfrm>
        </p:spPr>
        <p:txBody>
          <a:bodyPr/>
          <a:lstStyle/>
          <a:p>
            <a:r>
              <a:rPr lang="nb-NO" dirty="0"/>
              <a:t>Lærekontrakter kommunal og privat sektor</a:t>
            </a:r>
          </a:p>
        </p:txBody>
      </p:sp>
      <p:sp>
        <p:nvSpPr>
          <p:cNvPr id="12" name="TekstSylinder 11"/>
          <p:cNvSpPr txBox="1"/>
          <p:nvPr/>
        </p:nvSpPr>
        <p:spPr>
          <a:xfrm>
            <a:off x="308762" y="1003580"/>
            <a:ext cx="4076202" cy="4247317"/>
          </a:xfrm>
          <a:prstGeom prst="rect">
            <a:avLst/>
          </a:prstGeom>
          <a:noFill/>
        </p:spPr>
        <p:txBody>
          <a:bodyPr wrap="square" rtlCol="0">
            <a:spAutoFit/>
          </a:bodyPr>
          <a:lstStyle/>
          <a:p>
            <a:pPr marL="285750" indent="-285750" algn="l">
              <a:buFont typeface="Arial" panose="020B0604020202020204" pitchFamily="34" charset="0"/>
              <a:buChar char="•"/>
            </a:pPr>
            <a:r>
              <a:rPr lang="nb-NO" dirty="0"/>
              <a:t>Tvedestrand har ikke nådd målsetningen om tre lærekontrakter i kommunal sektor per 1000 innbyggere i 2024.</a:t>
            </a:r>
          </a:p>
          <a:p>
            <a:pPr marL="285750" indent="-285750" algn="l">
              <a:buFont typeface="Arial" panose="020B0604020202020204" pitchFamily="34" charset="0"/>
              <a:buChar char="•"/>
            </a:pPr>
            <a:endParaRPr lang="nb-NO" dirty="0"/>
          </a:p>
          <a:p>
            <a:pPr marL="285750" indent="-285750">
              <a:buFont typeface="Arial" panose="020B0604020202020204" pitchFamily="34" charset="0"/>
              <a:buChar char="•"/>
            </a:pPr>
            <a:r>
              <a:rPr lang="nb-NO" dirty="0"/>
              <a:t>Tvedestrand har 13 lærekontrakter i kommunal sektor, og mangler 6 for å nå målsetningen.</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Tvedestrand har 7 lærekontrakter per 1000 innbyggere i privat sektor (2024).</a:t>
            </a:r>
          </a:p>
          <a:p>
            <a:pPr marL="285750" indent="-285750">
              <a:buFont typeface="Arial" panose="020B0604020202020204" pitchFamily="34" charset="0"/>
              <a:buChar char="•"/>
            </a:pPr>
            <a:endParaRPr lang="nb-NO" dirty="0"/>
          </a:p>
          <a:p>
            <a:endParaRPr lang="nb-NO" dirty="0"/>
          </a:p>
          <a:p>
            <a:pPr marL="285750" indent="-285750" algn="l">
              <a:buFont typeface="Arial" panose="020B0604020202020204" pitchFamily="34" charset="0"/>
              <a:buChar char="•"/>
            </a:pPr>
            <a:endParaRPr lang="nb-NO" dirty="0"/>
          </a:p>
        </p:txBody>
      </p:sp>
      <p:graphicFrame>
        <p:nvGraphicFramePr>
          <p:cNvPr id="4" name="Diagram 3" descr="Stolpediagram som viser antall lærekontrakter per 1000 innbyggere, kommunal sektor. Sammenligner alle kommuner i Agder.">
            <a:extLst>
              <a:ext uri="{FF2B5EF4-FFF2-40B4-BE49-F238E27FC236}">
                <a16:creationId xmlns:a16="http://schemas.microsoft.com/office/drawing/2014/main" id="{95DCBE3D-B153-8797-AED0-2CF12836AB9F}"/>
              </a:ext>
            </a:extLst>
          </p:cNvPr>
          <p:cNvGraphicFramePr>
            <a:graphicFrameLocks/>
          </p:cNvGraphicFramePr>
          <p:nvPr>
            <p:extLst>
              <p:ext uri="{D42A27DB-BD31-4B8C-83A1-F6EECF244321}">
                <p14:modId xmlns:p14="http://schemas.microsoft.com/office/powerpoint/2010/main" val="1482261505"/>
              </p:ext>
            </p:extLst>
          </p:nvPr>
        </p:nvGraphicFramePr>
        <p:xfrm>
          <a:off x="5063068" y="1023937"/>
          <a:ext cx="6932990" cy="240506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 name="Diagram 1" descr="Stolpediagram som viser antall lærekontrakter per 1000 innbyggere, privat sektor. Sammenligner alle kommuner i Agder.">
            <a:extLst>
              <a:ext uri="{FF2B5EF4-FFF2-40B4-BE49-F238E27FC236}">
                <a16:creationId xmlns:a16="http://schemas.microsoft.com/office/drawing/2014/main" id="{79A0F035-6E3E-5A03-587D-E8262889D0DF}"/>
              </a:ext>
            </a:extLst>
          </p:cNvPr>
          <p:cNvGraphicFramePr>
            <a:graphicFrameLocks/>
          </p:cNvGraphicFramePr>
          <p:nvPr>
            <p:extLst>
              <p:ext uri="{D42A27DB-BD31-4B8C-83A1-F6EECF244321}">
                <p14:modId xmlns:p14="http://schemas.microsoft.com/office/powerpoint/2010/main" val="4236471819"/>
              </p:ext>
            </p:extLst>
          </p:nvPr>
        </p:nvGraphicFramePr>
        <p:xfrm>
          <a:off x="5063068" y="3671398"/>
          <a:ext cx="6932990" cy="216266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0641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43447" y="325005"/>
            <a:ext cx="6174393" cy="685606"/>
          </a:xfrm>
        </p:spPr>
        <p:txBody>
          <a:bodyPr/>
          <a:lstStyle/>
          <a:p>
            <a:r>
              <a:rPr lang="nb-NO" sz="4000" dirty="0"/>
              <a:t>Deltid kvinner 20-66 år</a:t>
            </a:r>
          </a:p>
        </p:txBody>
      </p:sp>
      <p:sp>
        <p:nvSpPr>
          <p:cNvPr id="5" name="TekstSylinder 4">
            <a:extLst>
              <a:ext uri="{FF2B5EF4-FFF2-40B4-BE49-F238E27FC236}">
                <a16:creationId xmlns:a16="http://schemas.microsoft.com/office/drawing/2014/main" id="{B21E2FD4-D9C7-8BE3-335D-DD3F9D2AE41F}"/>
              </a:ext>
            </a:extLst>
          </p:cNvPr>
          <p:cNvSpPr txBox="1"/>
          <p:nvPr/>
        </p:nvSpPr>
        <p:spPr>
          <a:xfrm>
            <a:off x="557896" y="5582616"/>
            <a:ext cx="2650672"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hlinkClick r:id="rId3"/>
              </a:rPr>
              <a:t>Rapport deltid kvinner</a:t>
            </a:r>
            <a:endPar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7" name="Tabell 6">
            <a:extLst>
              <a:ext uri="{FF2B5EF4-FFF2-40B4-BE49-F238E27FC236}">
                <a16:creationId xmlns:a16="http://schemas.microsoft.com/office/drawing/2014/main" id="{4C597273-0264-90B8-E414-2B75B5E01408}"/>
              </a:ext>
            </a:extLst>
          </p:cNvPr>
          <p:cNvGraphicFramePr>
            <a:graphicFrameLocks noGrp="1"/>
          </p:cNvGraphicFramePr>
          <p:nvPr>
            <p:extLst>
              <p:ext uri="{D42A27DB-BD31-4B8C-83A1-F6EECF244321}">
                <p14:modId xmlns:p14="http://schemas.microsoft.com/office/powerpoint/2010/main" val="2797275174"/>
              </p:ext>
            </p:extLst>
          </p:nvPr>
        </p:nvGraphicFramePr>
        <p:xfrm>
          <a:off x="647830" y="4111069"/>
          <a:ext cx="4562345" cy="1432560"/>
        </p:xfrm>
        <a:graphic>
          <a:graphicData uri="http://schemas.openxmlformats.org/drawingml/2006/table">
            <a:tbl>
              <a:tblPr firstRow="1" bandRow="1">
                <a:tableStyleId>{7DF18680-E054-41AD-8BC1-D1AEF772440D}</a:tableStyleId>
              </a:tblPr>
              <a:tblGrid>
                <a:gridCol w="1507778">
                  <a:extLst>
                    <a:ext uri="{9D8B030D-6E8A-4147-A177-3AD203B41FA5}">
                      <a16:colId xmlns:a16="http://schemas.microsoft.com/office/drawing/2014/main" val="458187021"/>
                    </a:ext>
                  </a:extLst>
                </a:gridCol>
                <a:gridCol w="1018189">
                  <a:extLst>
                    <a:ext uri="{9D8B030D-6E8A-4147-A177-3AD203B41FA5}">
                      <a16:colId xmlns:a16="http://schemas.microsoft.com/office/drawing/2014/main" val="221583423"/>
                    </a:ext>
                  </a:extLst>
                </a:gridCol>
                <a:gridCol w="1018189">
                  <a:extLst>
                    <a:ext uri="{9D8B030D-6E8A-4147-A177-3AD203B41FA5}">
                      <a16:colId xmlns:a16="http://schemas.microsoft.com/office/drawing/2014/main" val="1883679846"/>
                    </a:ext>
                  </a:extLst>
                </a:gridCol>
                <a:gridCol w="1018189">
                  <a:extLst>
                    <a:ext uri="{9D8B030D-6E8A-4147-A177-3AD203B41FA5}">
                      <a16:colId xmlns:a16="http://schemas.microsoft.com/office/drawing/2014/main" val="2441713524"/>
                    </a:ext>
                  </a:extLst>
                </a:gridCol>
              </a:tblGrid>
              <a:tr h="467507">
                <a:tc>
                  <a:txBody>
                    <a:bodyPr/>
                    <a:lstStyle/>
                    <a:p>
                      <a:pPr algn="ctr"/>
                      <a:r>
                        <a:rPr lang="nb-NO" sz="1400" dirty="0"/>
                        <a:t>20-66 år</a:t>
                      </a:r>
                      <a:endParaRPr lang="nb-NO" sz="1400" b="1" dirty="0"/>
                    </a:p>
                  </a:txBody>
                  <a:tcPr anchor="ctr"/>
                </a:tc>
                <a:tc>
                  <a:txBody>
                    <a:bodyPr/>
                    <a:lstStyle/>
                    <a:p>
                      <a:pPr algn="ctr"/>
                      <a:r>
                        <a:rPr lang="nb-NO" sz="1400" dirty="0"/>
                        <a:t>Begge kjønn</a:t>
                      </a:r>
                      <a:endParaRPr lang="nb-NO" sz="1400" b="1" dirty="0"/>
                    </a:p>
                  </a:txBody>
                  <a:tcPr anchor="ctr"/>
                </a:tc>
                <a:tc>
                  <a:txBody>
                    <a:bodyPr/>
                    <a:lstStyle/>
                    <a:p>
                      <a:pPr algn="ctr"/>
                      <a:r>
                        <a:rPr lang="nb-NO" sz="1400" dirty="0"/>
                        <a:t>Menn</a:t>
                      </a:r>
                      <a:endParaRPr lang="nb-NO" sz="14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400"/>
                        <a:t>Kvinner</a:t>
                      </a:r>
                      <a:endParaRPr lang="nb-NO" sz="1400" b="1"/>
                    </a:p>
                  </a:txBody>
                  <a:tcPr anchor="ctr"/>
                </a:tc>
                <a:extLst>
                  <a:ext uri="{0D108BD9-81ED-4DB2-BD59-A6C34878D82A}">
                    <a16:rowId xmlns:a16="http://schemas.microsoft.com/office/drawing/2014/main" val="957641228"/>
                  </a:ext>
                </a:extLst>
              </a:tr>
              <a:tr h="275999">
                <a:tc>
                  <a:txBody>
                    <a:bodyPr/>
                    <a:lstStyle/>
                    <a:p>
                      <a:pPr algn="ctr"/>
                      <a:r>
                        <a:rPr lang="nb-NO" sz="1400" b="0" dirty="0"/>
                        <a:t>Tvedestrand</a:t>
                      </a:r>
                    </a:p>
                  </a:txBody>
                  <a:tcPr anchor="ctr"/>
                </a:tc>
                <a:tc>
                  <a:txBody>
                    <a:bodyPr/>
                    <a:lstStyle/>
                    <a:p>
                      <a:pPr algn="ctr"/>
                      <a:r>
                        <a:rPr lang="nb-NO" sz="1400" b="0" dirty="0"/>
                        <a:t>33,4</a:t>
                      </a:r>
                    </a:p>
                  </a:txBody>
                  <a:tcPr anchor="ctr"/>
                </a:tc>
                <a:tc>
                  <a:txBody>
                    <a:bodyPr/>
                    <a:lstStyle/>
                    <a:p>
                      <a:pPr algn="ctr"/>
                      <a:r>
                        <a:rPr lang="nb-NO" sz="1400" b="0" dirty="0"/>
                        <a:t>20,0</a:t>
                      </a:r>
                    </a:p>
                  </a:txBody>
                  <a:tcPr anchor="ctr"/>
                </a:tc>
                <a:tc>
                  <a:txBody>
                    <a:bodyPr/>
                    <a:lstStyle/>
                    <a:p>
                      <a:pPr algn="ctr"/>
                      <a:r>
                        <a:rPr lang="nb-NO" sz="1400" b="0" dirty="0"/>
                        <a:t>48,2</a:t>
                      </a:r>
                    </a:p>
                  </a:txBody>
                  <a:tcPr anchor="ctr"/>
                </a:tc>
                <a:extLst>
                  <a:ext uri="{0D108BD9-81ED-4DB2-BD59-A6C34878D82A}">
                    <a16:rowId xmlns:a16="http://schemas.microsoft.com/office/drawing/2014/main" val="4019652575"/>
                  </a:ext>
                </a:extLst>
              </a:tr>
              <a:tr h="275999">
                <a:tc>
                  <a:txBody>
                    <a:bodyPr/>
                    <a:lstStyle/>
                    <a:p>
                      <a:pPr algn="ctr"/>
                      <a:r>
                        <a:rPr lang="nb-NO" sz="1400" dirty="0"/>
                        <a:t>Agder</a:t>
                      </a:r>
                      <a:endParaRPr lang="nb-NO" sz="1400" b="1" dirty="0"/>
                    </a:p>
                  </a:txBody>
                  <a:tcPr anchor="ctr"/>
                </a:tc>
                <a:tc>
                  <a:txBody>
                    <a:bodyPr/>
                    <a:lstStyle/>
                    <a:p>
                      <a:pPr algn="ctr"/>
                      <a:r>
                        <a:rPr lang="nb-NO" sz="1400" b="0" dirty="0"/>
                        <a:t>30,9</a:t>
                      </a:r>
                    </a:p>
                  </a:txBody>
                  <a:tcPr anchor="ctr"/>
                </a:tc>
                <a:tc>
                  <a:txBody>
                    <a:bodyPr/>
                    <a:lstStyle/>
                    <a:p>
                      <a:pPr algn="ctr"/>
                      <a:r>
                        <a:rPr lang="nb-NO" sz="1400" b="0" dirty="0"/>
                        <a:t>18,6</a:t>
                      </a:r>
                    </a:p>
                  </a:txBody>
                  <a:tcPr anchor="ctr"/>
                </a:tc>
                <a:tc>
                  <a:txBody>
                    <a:bodyPr/>
                    <a:lstStyle/>
                    <a:p>
                      <a:pPr algn="ctr"/>
                      <a:r>
                        <a:rPr lang="nb-NO" sz="1400" b="0" dirty="0"/>
                        <a:t>44,6</a:t>
                      </a:r>
                    </a:p>
                  </a:txBody>
                  <a:tcPr anchor="ctr"/>
                </a:tc>
                <a:extLst>
                  <a:ext uri="{0D108BD9-81ED-4DB2-BD59-A6C34878D82A}">
                    <a16:rowId xmlns:a16="http://schemas.microsoft.com/office/drawing/2014/main" val="4145178818"/>
                  </a:ext>
                </a:extLst>
              </a:tr>
              <a:tr h="275999">
                <a:tc>
                  <a:txBody>
                    <a:bodyPr/>
                    <a:lstStyle/>
                    <a:p>
                      <a:pPr algn="ctr"/>
                      <a:r>
                        <a:rPr lang="nb-NO" sz="1400" dirty="0"/>
                        <a:t>Norge</a:t>
                      </a:r>
                      <a:endParaRPr lang="nb-NO" sz="1400" b="1" dirty="0"/>
                    </a:p>
                  </a:txBody>
                  <a:tcPr anchor="ctr"/>
                </a:tc>
                <a:tc>
                  <a:txBody>
                    <a:bodyPr/>
                    <a:lstStyle/>
                    <a:p>
                      <a:pPr algn="ctr"/>
                      <a:r>
                        <a:rPr lang="nb-NO" sz="1400" b="0" dirty="0"/>
                        <a:t>25,4</a:t>
                      </a:r>
                    </a:p>
                  </a:txBody>
                  <a:tcPr anchor="ctr"/>
                </a:tc>
                <a:tc>
                  <a:txBody>
                    <a:bodyPr/>
                    <a:lstStyle/>
                    <a:p>
                      <a:pPr algn="ctr"/>
                      <a:r>
                        <a:rPr lang="nb-NO" sz="1400" b="0" dirty="0"/>
                        <a:t>16,3</a:t>
                      </a:r>
                    </a:p>
                  </a:txBody>
                  <a:tcPr anchor="ctr"/>
                </a:tc>
                <a:tc>
                  <a:txBody>
                    <a:bodyPr/>
                    <a:lstStyle/>
                    <a:p>
                      <a:pPr algn="ctr"/>
                      <a:r>
                        <a:rPr lang="nb-NO" sz="1400" b="0" dirty="0"/>
                        <a:t>35,4</a:t>
                      </a:r>
                    </a:p>
                  </a:txBody>
                  <a:tcPr anchor="ctr"/>
                </a:tc>
                <a:extLst>
                  <a:ext uri="{0D108BD9-81ED-4DB2-BD59-A6C34878D82A}">
                    <a16:rowId xmlns:a16="http://schemas.microsoft.com/office/drawing/2014/main" val="2028139095"/>
                  </a:ext>
                </a:extLst>
              </a:tr>
            </a:tbl>
          </a:graphicData>
        </a:graphic>
      </p:graphicFrame>
      <p:pic>
        <p:nvPicPr>
          <p:cNvPr id="10" name="Bilde 9" descr="Linjediagram som viser utviklingen i andel kvinner 20-66 år som jobber deltid. Tidsserie for Agder og Norge. ">
            <a:extLst>
              <a:ext uri="{FF2B5EF4-FFF2-40B4-BE49-F238E27FC236}">
                <a16:creationId xmlns:a16="http://schemas.microsoft.com/office/drawing/2014/main" id="{CF93E000-86EF-9BA8-8A4D-AEE473996585}"/>
              </a:ext>
            </a:extLst>
          </p:cNvPr>
          <p:cNvPicPr>
            <a:picLocks noChangeAspect="1"/>
          </p:cNvPicPr>
          <p:nvPr/>
        </p:nvPicPr>
        <p:blipFill>
          <a:blip r:embed="rId4"/>
          <a:stretch>
            <a:fillRect/>
          </a:stretch>
        </p:blipFill>
        <p:spPr>
          <a:xfrm>
            <a:off x="562104" y="1314370"/>
            <a:ext cx="4733795" cy="2664777"/>
          </a:xfrm>
          <a:prstGeom prst="rect">
            <a:avLst/>
          </a:prstGeom>
        </p:spPr>
      </p:pic>
      <p:pic>
        <p:nvPicPr>
          <p:cNvPr id="11" name="Bilde 10" descr="Et bilde som inneholder kart, tekst, og tall. Kartet viser andel kvinner som jobber deltid i 2022. Tall for alle kommuner i Agder.">
            <a:extLst>
              <a:ext uri="{FF2B5EF4-FFF2-40B4-BE49-F238E27FC236}">
                <a16:creationId xmlns:a16="http://schemas.microsoft.com/office/drawing/2014/main" id="{24F75D29-6AB4-DD32-D9DD-BC2E3562AE48}"/>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6164373" y="19049"/>
            <a:ext cx="5675201" cy="5958721"/>
          </a:xfrm>
          <a:prstGeom prst="rect">
            <a:avLst/>
          </a:prstGeom>
        </p:spPr>
      </p:pic>
    </p:spTree>
    <p:extLst>
      <p:ext uri="{BB962C8B-B14F-4D97-AF65-F5344CB8AC3E}">
        <p14:creationId xmlns:p14="http://schemas.microsoft.com/office/powerpoint/2010/main" val="76853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35105" y="295469"/>
            <a:ext cx="10153651" cy="685606"/>
          </a:xfrm>
        </p:spPr>
        <p:txBody>
          <a:bodyPr/>
          <a:lstStyle/>
          <a:p>
            <a:r>
              <a:rPr lang="nb-NO" dirty="0"/>
              <a:t>Sysselsetting etter landbakgrunn</a:t>
            </a:r>
          </a:p>
        </p:txBody>
      </p:sp>
      <p:sp>
        <p:nvSpPr>
          <p:cNvPr id="3" name="TekstSylinder 2"/>
          <p:cNvSpPr txBox="1"/>
          <p:nvPr/>
        </p:nvSpPr>
        <p:spPr>
          <a:xfrm>
            <a:off x="422563" y="1175211"/>
            <a:ext cx="3494809" cy="3139321"/>
          </a:xfrm>
          <a:prstGeom prst="rect">
            <a:avLst/>
          </a:prstGeom>
          <a:noFill/>
        </p:spPr>
        <p:txBody>
          <a:bodyPr wrap="square" rtlCol="0">
            <a:spAutoFit/>
          </a:bodyPr>
          <a:lstStyle/>
          <a:p>
            <a:pPr marL="285750" indent="-285750">
              <a:buFont typeface="Arial" panose="020B0604020202020204" pitchFamily="34" charset="0"/>
              <a:buChar char="•"/>
            </a:pPr>
            <a:r>
              <a:rPr lang="nb-NO" dirty="0"/>
              <a:t>Blant innvandrere – og særlig innvandrere fra Gruppe 2-land – er det en betydelig lavere sysselsetting enn befolkningen for øvrig.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Tallene understreker viktigheten av en målrettet satsing på kvalifisering og inkludering av innvandrere fra Gruppe 2-land til arbeidslivet.</a:t>
            </a:r>
          </a:p>
        </p:txBody>
      </p:sp>
      <p:sp>
        <p:nvSpPr>
          <p:cNvPr id="4" name="TekstSylinder 3">
            <a:extLst>
              <a:ext uri="{FF2B5EF4-FFF2-40B4-BE49-F238E27FC236}">
                <a16:creationId xmlns:a16="http://schemas.microsoft.com/office/drawing/2014/main" id="{ADC4D27A-7104-89A3-9CDC-9CE0B0173FB4}"/>
              </a:ext>
            </a:extLst>
          </p:cNvPr>
          <p:cNvSpPr txBox="1"/>
          <p:nvPr/>
        </p:nvSpPr>
        <p:spPr>
          <a:xfrm>
            <a:off x="737112" y="4686479"/>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graphicFrame>
        <p:nvGraphicFramePr>
          <p:cNvPr id="5" name="Diagram 4" descr="Stolpediagram som viser andel sysselsatte over tid, landbakgrunn og kjønn. Aldersgruppe 20-66 år. ">
            <a:extLst>
              <a:ext uri="{FF2B5EF4-FFF2-40B4-BE49-F238E27FC236}">
                <a16:creationId xmlns:a16="http://schemas.microsoft.com/office/drawing/2014/main" id="{A9AB4960-5BA5-6AF9-F3ED-65DFE4591263}"/>
              </a:ext>
            </a:extLst>
          </p:cNvPr>
          <p:cNvGraphicFramePr>
            <a:graphicFrameLocks/>
          </p:cNvGraphicFramePr>
          <p:nvPr>
            <p:extLst>
              <p:ext uri="{D42A27DB-BD31-4B8C-83A1-F6EECF244321}">
                <p14:modId xmlns:p14="http://schemas.microsoft.com/office/powerpoint/2010/main" val="4139769904"/>
              </p:ext>
            </p:extLst>
          </p:nvPr>
        </p:nvGraphicFramePr>
        <p:xfrm>
          <a:off x="4338687" y="1175210"/>
          <a:ext cx="7430749" cy="461919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10371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10153651" cy="685606"/>
          </a:xfrm>
        </p:spPr>
        <p:txBody>
          <a:bodyPr/>
          <a:lstStyle/>
          <a:p>
            <a:r>
              <a:rPr lang="nb-NO" dirty="0"/>
              <a:t>Vedvarende lavinntekt</a:t>
            </a:r>
          </a:p>
        </p:txBody>
      </p:sp>
      <p:sp>
        <p:nvSpPr>
          <p:cNvPr id="3" name="TekstSylinder 2"/>
          <p:cNvSpPr txBox="1"/>
          <p:nvPr/>
        </p:nvSpPr>
        <p:spPr>
          <a:xfrm>
            <a:off x="422564" y="1175211"/>
            <a:ext cx="3203286" cy="3416320"/>
          </a:xfrm>
          <a:prstGeom prst="rect">
            <a:avLst/>
          </a:prstGeom>
          <a:noFill/>
        </p:spPr>
        <p:txBody>
          <a:bodyPr wrap="square" rtlCol="0">
            <a:spAutoFit/>
          </a:bodyPr>
          <a:lstStyle/>
          <a:p>
            <a:pPr marL="285750" indent="-285750">
              <a:buFont typeface="Arial" panose="020B0604020202020204" pitchFamily="34" charset="0"/>
              <a:buChar char="•"/>
            </a:pPr>
            <a:r>
              <a:rPr lang="nb-NO" dirty="0"/>
              <a:t>Inntekt og økonomi er grunnleggende påvirkningsfaktorer for helse, og forskning har vist at det er en sammenheng mellom inntektsnivå og helsetilstand.</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Lav inntekt øker sannsynligheten for dårlig selvopplevd helse, sykdom og for tidlig død.</a:t>
            </a:r>
          </a:p>
        </p:txBody>
      </p:sp>
      <p:sp>
        <p:nvSpPr>
          <p:cNvPr id="4" name="TekstSylinder 3">
            <a:extLst>
              <a:ext uri="{FF2B5EF4-FFF2-40B4-BE49-F238E27FC236}">
                <a16:creationId xmlns:a16="http://schemas.microsoft.com/office/drawing/2014/main" id="{078294F2-A6F6-2263-1823-FD5A179C43EC}"/>
              </a:ext>
            </a:extLst>
          </p:cNvPr>
          <p:cNvSpPr txBox="1"/>
          <p:nvPr/>
        </p:nvSpPr>
        <p:spPr>
          <a:xfrm>
            <a:off x="693477" y="4938155"/>
            <a:ext cx="2423432" cy="369332"/>
          </a:xfrm>
          <a:prstGeom prst="rect">
            <a:avLst/>
          </a:prstGeom>
          <a:noFill/>
        </p:spPr>
        <p:txBody>
          <a:bodyPr wrap="square" rtlCol="0">
            <a:spAutoFit/>
          </a:bodyPr>
          <a:lstStyle/>
          <a:p>
            <a:pPr algn="l"/>
            <a:r>
              <a:rPr lang="nb-NO" dirty="0">
                <a:hlinkClick r:id="rId3"/>
              </a:rPr>
              <a:t>Rapport lavinntekt</a:t>
            </a:r>
            <a:endParaRPr lang="nb-NO" dirty="0"/>
          </a:p>
        </p:txBody>
      </p:sp>
      <p:graphicFrame>
        <p:nvGraphicFramePr>
          <p:cNvPr id="5" name="Diagram 4" descr="Stolpediagram som viser andel personer i husholdninger med vedvarende lavinntekt (EU60). Tidsserie fra 2010-2022. Sammenligner Norge, Agder og Arendal.">
            <a:extLst>
              <a:ext uri="{FF2B5EF4-FFF2-40B4-BE49-F238E27FC236}">
                <a16:creationId xmlns:a16="http://schemas.microsoft.com/office/drawing/2014/main" id="{1E871170-F82D-1EDA-BE6F-558892AFB706}"/>
              </a:ext>
            </a:extLst>
          </p:cNvPr>
          <p:cNvGraphicFramePr>
            <a:graphicFrameLocks/>
          </p:cNvGraphicFramePr>
          <p:nvPr>
            <p:extLst>
              <p:ext uri="{D42A27DB-BD31-4B8C-83A1-F6EECF244321}">
                <p14:modId xmlns:p14="http://schemas.microsoft.com/office/powerpoint/2010/main" val="3194613947"/>
              </p:ext>
            </p:extLst>
          </p:nvPr>
        </p:nvGraphicFramePr>
        <p:xfrm>
          <a:off x="4072839" y="1246043"/>
          <a:ext cx="7877175" cy="443674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21633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3115019" cy="685606"/>
          </a:xfrm>
        </p:spPr>
        <p:txBody>
          <a:bodyPr/>
          <a:lstStyle/>
          <a:p>
            <a:r>
              <a:rPr lang="nb-NO" dirty="0"/>
              <a:t>Tannhelse</a:t>
            </a:r>
          </a:p>
        </p:txBody>
      </p:sp>
      <p:sp>
        <p:nvSpPr>
          <p:cNvPr id="3" name="TekstSylinder 2"/>
          <p:cNvSpPr txBox="1"/>
          <p:nvPr/>
        </p:nvSpPr>
        <p:spPr>
          <a:xfrm>
            <a:off x="422563" y="1175211"/>
            <a:ext cx="3973790" cy="3693319"/>
          </a:xfrm>
          <a:prstGeom prst="rect">
            <a:avLst/>
          </a:prstGeom>
          <a:noFill/>
        </p:spPr>
        <p:txBody>
          <a:bodyPr wrap="square" rtlCol="0">
            <a:spAutoFit/>
          </a:bodyPr>
          <a:lstStyle/>
          <a:p>
            <a:pPr marL="285750" indent="-285750">
              <a:buFont typeface="Arial" panose="020B0604020202020204" pitchFamily="34" charset="0"/>
              <a:buChar char="•"/>
            </a:pPr>
            <a:r>
              <a:rPr lang="nb-NO" dirty="0"/>
              <a:t>Den offentlige tannhelsetjenesten overvåker tannhelsen i den unge befolkning gjennom systematiske registreringer av antall nye hull, tannflater med fyllinger og tapte tenner (DMFT).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Registreringene gir et grovt mål på utviklingen i tannhelsen over flere år, og gir mulighet for å sammenligne tannhelsen mellom kommuner, fylker og gjennomsnitt for landet.</a:t>
            </a:r>
            <a:endParaRPr lang="nb-NO" dirty="0">
              <a:solidFill>
                <a:srgbClr val="FF0000"/>
              </a:solidFill>
            </a:endParaRPr>
          </a:p>
        </p:txBody>
      </p:sp>
      <p:sp>
        <p:nvSpPr>
          <p:cNvPr id="7" name="TekstSylinder 6">
            <a:extLst>
              <a:ext uri="{FF2B5EF4-FFF2-40B4-BE49-F238E27FC236}">
                <a16:creationId xmlns:a16="http://schemas.microsoft.com/office/drawing/2014/main" id="{47DCA46B-50E1-2FDE-FC96-1DC5282D5C2D}"/>
              </a:ext>
            </a:extLst>
          </p:cNvPr>
          <p:cNvSpPr txBox="1"/>
          <p:nvPr/>
        </p:nvSpPr>
        <p:spPr>
          <a:xfrm>
            <a:off x="731568" y="5054714"/>
            <a:ext cx="2423432" cy="369332"/>
          </a:xfrm>
          <a:prstGeom prst="rect">
            <a:avLst/>
          </a:prstGeom>
          <a:noFill/>
        </p:spPr>
        <p:txBody>
          <a:bodyPr wrap="square" rtlCol="0">
            <a:spAutoFit/>
          </a:bodyPr>
          <a:lstStyle/>
          <a:p>
            <a:pPr algn="l"/>
            <a:r>
              <a:rPr lang="nb-NO" dirty="0">
                <a:hlinkClick r:id="rId3"/>
              </a:rPr>
              <a:t>Rapport tannhelse </a:t>
            </a:r>
            <a:endParaRPr lang="nb-NO" dirty="0"/>
          </a:p>
        </p:txBody>
      </p:sp>
      <p:graphicFrame>
        <p:nvGraphicFramePr>
          <p:cNvPr id="8" name="Diagram 7" descr="Linjediagram som viser antall 5-åringer i perioden fra 2002.">
            <a:extLst>
              <a:ext uri="{FF2B5EF4-FFF2-40B4-BE49-F238E27FC236}">
                <a16:creationId xmlns:a16="http://schemas.microsoft.com/office/drawing/2014/main" id="{00000000-0008-0000-0200-000002000000}"/>
              </a:ext>
            </a:extLst>
          </p:cNvPr>
          <p:cNvGraphicFramePr>
            <a:graphicFrameLocks/>
          </p:cNvGraphicFramePr>
          <p:nvPr>
            <p:extLst>
              <p:ext uri="{D42A27DB-BD31-4B8C-83A1-F6EECF244321}">
                <p14:modId xmlns:p14="http://schemas.microsoft.com/office/powerpoint/2010/main" val="3677513905"/>
              </p:ext>
            </p:extLst>
          </p:nvPr>
        </p:nvGraphicFramePr>
        <p:xfrm>
          <a:off x="5059479" y="4400550"/>
          <a:ext cx="6179820" cy="1447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Diagram 8" descr="Stolpediagram som viser antall tenner med fylling eller hull for 5-åringer. ">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891339058"/>
              </p:ext>
            </p:extLst>
          </p:nvPr>
        </p:nvGraphicFramePr>
        <p:xfrm>
          <a:off x="5059479" y="2530683"/>
          <a:ext cx="6179820" cy="161925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Diagram 9" descr="Stolpediagram som viser andel 5-åringer med feilfrie tenner.">
            <a:extLst>
              <a:ext uri="{FF2B5EF4-FFF2-40B4-BE49-F238E27FC236}">
                <a16:creationId xmlns:a16="http://schemas.microsoft.com/office/drawing/2014/main" id="{028D2252-F4B0-498F-AA99-FB6CF217ADD0}"/>
              </a:ext>
            </a:extLst>
          </p:cNvPr>
          <p:cNvGraphicFramePr>
            <a:graphicFrameLocks/>
          </p:cNvGraphicFramePr>
          <p:nvPr>
            <p:extLst>
              <p:ext uri="{D42A27DB-BD31-4B8C-83A1-F6EECF244321}">
                <p14:modId xmlns:p14="http://schemas.microsoft.com/office/powerpoint/2010/main" val="2828153779"/>
              </p:ext>
            </p:extLst>
          </p:nvPr>
        </p:nvGraphicFramePr>
        <p:xfrm>
          <a:off x="5059479" y="651289"/>
          <a:ext cx="6179820" cy="162877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736272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351109"/>
            <a:ext cx="10164763" cy="1021481"/>
          </a:xfrm>
        </p:spPr>
        <p:txBody>
          <a:bodyPr/>
          <a:lstStyle/>
          <a:p>
            <a:r>
              <a:rPr lang="nb-NO" dirty="0"/>
              <a:t>Klima og miljø</a:t>
            </a:r>
          </a:p>
        </p:txBody>
      </p:sp>
      <p:sp>
        <p:nvSpPr>
          <p:cNvPr id="3" name="Undertittel 2"/>
          <p:cNvSpPr>
            <a:spLocks noGrp="1"/>
          </p:cNvSpPr>
          <p:nvPr>
            <p:ph type="subTitle" idx="1"/>
          </p:nvPr>
        </p:nvSpPr>
        <p:spPr>
          <a:xfrm>
            <a:off x="1193800" y="2618427"/>
            <a:ext cx="10171112" cy="1541688"/>
          </a:xfrm>
        </p:spPr>
        <p:txBody>
          <a:bodyPr/>
          <a:lstStyle/>
          <a:p>
            <a:r>
              <a:rPr lang="nb-NO" i="1" dirty="0"/>
              <a:t>Regionplan Agder 2030 tegner et fremtidsbilde der Agder har redusert klimagassutslipp med minst 45 prosent. Nødvendig infrastruktur for et fullelektrisk samfunn er bygd ut, mens informasjons- og kommunikasjonsteknologi har gjort det enkelt å velge den mest klimavennlige løsningen for innbyggerne og besøkende. Natur- og landbruksområder er ivaretatt for fremtidige generasjoner, og er en del av regionens ressursgrunnlag og identite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9151" y="5431693"/>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8569" y="5431693"/>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17987" y="5431693"/>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47405" y="5435238"/>
            <a:ext cx="1130400" cy="1130400"/>
          </a:xfrm>
          <a:prstGeom prst="rect">
            <a:avLst/>
          </a:prstGeom>
        </p:spPr>
      </p:pic>
    </p:spTree>
    <p:extLst>
      <p:ext uri="{BB962C8B-B14F-4D97-AF65-F5344CB8AC3E}">
        <p14:creationId xmlns:p14="http://schemas.microsoft.com/office/powerpoint/2010/main" val="44542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descr="Kommunevåpe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9022" y="295900"/>
            <a:ext cx="535072" cy="668841"/>
          </a:xfrm>
          <a:prstGeom prst="rect">
            <a:avLst/>
          </a:prstGeom>
        </p:spPr>
      </p:pic>
      <p:sp>
        <p:nvSpPr>
          <p:cNvPr id="2" name="Tittel 1"/>
          <p:cNvSpPr>
            <a:spLocks noGrp="1"/>
          </p:cNvSpPr>
          <p:nvPr>
            <p:ph type="title"/>
          </p:nvPr>
        </p:nvSpPr>
        <p:spPr>
          <a:xfrm>
            <a:off x="1796716" y="295900"/>
            <a:ext cx="7772400" cy="685606"/>
          </a:xfrm>
        </p:spPr>
        <p:txBody>
          <a:bodyPr/>
          <a:lstStyle/>
          <a:p>
            <a:r>
              <a:rPr lang="nb-NO" sz="3200" dirty="0"/>
              <a:t>Kjappe fakta om Tvedestrand kommune</a:t>
            </a:r>
          </a:p>
        </p:txBody>
      </p:sp>
      <p:graphicFrame>
        <p:nvGraphicFramePr>
          <p:cNvPr id="3" name="Tabell 2" descr="Tabell som viser areal (km2) i kommunen."/>
          <p:cNvGraphicFramePr>
            <a:graphicFrameLocks noGrp="1"/>
          </p:cNvGraphicFramePr>
          <p:nvPr>
            <p:extLst>
              <p:ext uri="{D42A27DB-BD31-4B8C-83A1-F6EECF244321}">
                <p14:modId xmlns:p14="http://schemas.microsoft.com/office/powerpoint/2010/main" val="1141819315"/>
              </p:ext>
            </p:extLst>
          </p:nvPr>
        </p:nvGraphicFramePr>
        <p:xfrm>
          <a:off x="748169"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Areal (km</a:t>
                      </a:r>
                      <a:r>
                        <a:rPr lang="nb-NO" sz="1200" baseline="30000" dirty="0"/>
                        <a:t>2</a:t>
                      </a:r>
                      <a:r>
                        <a:rPr lang="nb-NO" sz="1200" dirty="0"/>
                        <a:t>)</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Areal</a:t>
                      </a:r>
                    </a:p>
                  </a:txBody>
                  <a:tcPr/>
                </a:tc>
                <a:tc>
                  <a:txBody>
                    <a:bodyPr/>
                    <a:lstStyle/>
                    <a:p>
                      <a:pPr algn="ctr"/>
                      <a:r>
                        <a:rPr lang="nb-NO" sz="1200" dirty="0"/>
                        <a:t>215,1</a:t>
                      </a:r>
                    </a:p>
                  </a:txBody>
                  <a:tcPr/>
                </a:tc>
                <a:extLst>
                  <a:ext uri="{0D108BD9-81ED-4DB2-BD59-A6C34878D82A}">
                    <a16:rowId xmlns:a16="http://schemas.microsoft.com/office/drawing/2014/main" val="3696038960"/>
                  </a:ext>
                </a:extLst>
              </a:tr>
              <a:tr h="312707">
                <a:tc>
                  <a:txBody>
                    <a:bodyPr/>
                    <a:lstStyle/>
                    <a:p>
                      <a:r>
                        <a:rPr lang="nb-NO" sz="1200"/>
                        <a:t>Landareal</a:t>
                      </a:r>
                    </a:p>
                  </a:txBody>
                  <a:tcPr/>
                </a:tc>
                <a:tc>
                  <a:txBody>
                    <a:bodyPr/>
                    <a:lstStyle/>
                    <a:p>
                      <a:pPr algn="ctr"/>
                      <a:r>
                        <a:rPr lang="nb-NO" sz="1200" dirty="0"/>
                        <a:t>203,7</a:t>
                      </a:r>
                    </a:p>
                  </a:txBody>
                  <a:tcPr/>
                </a:tc>
                <a:extLst>
                  <a:ext uri="{0D108BD9-81ED-4DB2-BD59-A6C34878D82A}">
                    <a16:rowId xmlns:a16="http://schemas.microsoft.com/office/drawing/2014/main" val="291333389"/>
                  </a:ext>
                </a:extLst>
              </a:tr>
              <a:tr h="312707">
                <a:tc>
                  <a:txBody>
                    <a:bodyPr/>
                    <a:lstStyle/>
                    <a:p>
                      <a:r>
                        <a:rPr lang="nb-NO" sz="1200" dirty="0"/>
                        <a:t>Bebygd/samferdsel areal</a:t>
                      </a:r>
                    </a:p>
                  </a:txBody>
                  <a:tcPr/>
                </a:tc>
                <a:tc>
                  <a:txBody>
                    <a:bodyPr/>
                    <a:lstStyle/>
                    <a:p>
                      <a:pPr algn="ctr"/>
                      <a:r>
                        <a:rPr lang="nb-NO" sz="1200" dirty="0"/>
                        <a:t>11,5</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Ferskvann</a:t>
                      </a:r>
                    </a:p>
                  </a:txBody>
                  <a:tcPr/>
                </a:tc>
                <a:tc>
                  <a:txBody>
                    <a:bodyPr/>
                    <a:lstStyle/>
                    <a:p>
                      <a:pPr algn="ctr"/>
                      <a:r>
                        <a:rPr lang="nb-NO" sz="1200" dirty="0"/>
                        <a:t>11,5</a:t>
                      </a:r>
                    </a:p>
                  </a:txBody>
                  <a:tcPr/>
                </a:tc>
                <a:extLst>
                  <a:ext uri="{0D108BD9-81ED-4DB2-BD59-A6C34878D82A}">
                    <a16:rowId xmlns:a16="http://schemas.microsoft.com/office/drawing/2014/main" val="24486231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Jordbruksareal</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t>7,4</a:t>
                      </a:r>
                    </a:p>
                  </a:txBody>
                  <a:tcPr/>
                </a:tc>
                <a:extLst>
                  <a:ext uri="{0D108BD9-81ED-4DB2-BD59-A6C34878D82A}">
                    <a16:rowId xmlns:a16="http://schemas.microsoft.com/office/drawing/2014/main" val="21802029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Vernet areal</a:t>
                      </a:r>
                    </a:p>
                  </a:txBody>
                  <a:tcPr/>
                </a:tc>
                <a:tc>
                  <a:txBody>
                    <a:bodyPr/>
                    <a:lstStyle/>
                    <a:p>
                      <a:pPr algn="ctr"/>
                      <a:r>
                        <a:rPr lang="nb-NO" sz="1200" dirty="0"/>
                        <a:t>77,7 </a:t>
                      </a:r>
                    </a:p>
                  </a:txBody>
                  <a:tcPr/>
                </a:tc>
                <a:extLst>
                  <a:ext uri="{0D108BD9-81ED-4DB2-BD59-A6C34878D82A}">
                    <a16:rowId xmlns:a16="http://schemas.microsoft.com/office/drawing/2014/main" val="368672057"/>
                  </a:ext>
                </a:extLst>
              </a:tr>
            </a:tbl>
          </a:graphicData>
        </a:graphic>
      </p:graphicFrame>
      <p:graphicFrame>
        <p:nvGraphicFramePr>
          <p:cNvPr id="10" name="Tabell 9" descr="Tabell som viser tjenester i kommunen."/>
          <p:cNvGraphicFramePr>
            <a:graphicFrameLocks noGrp="1"/>
          </p:cNvGraphicFramePr>
          <p:nvPr>
            <p:extLst>
              <p:ext uri="{D42A27DB-BD31-4B8C-83A1-F6EECF244321}">
                <p14:modId xmlns:p14="http://schemas.microsoft.com/office/powerpoint/2010/main" val="2518318286"/>
              </p:ext>
            </p:extLst>
          </p:nvPr>
        </p:nvGraphicFramePr>
        <p:xfrm>
          <a:off x="748169" y="3843728"/>
          <a:ext cx="3986158" cy="1876242"/>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Tjenester</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Barneskoler</a:t>
                      </a:r>
                    </a:p>
                  </a:txBody>
                  <a:tcPr/>
                </a:tc>
                <a:tc>
                  <a:txBody>
                    <a:bodyPr/>
                    <a:lstStyle/>
                    <a:p>
                      <a:pPr algn="ctr"/>
                      <a:r>
                        <a:rPr lang="nb-NO" sz="1200" dirty="0">
                          <a:solidFill>
                            <a:schemeClr val="tx1"/>
                          </a:solidFill>
                        </a:rPr>
                        <a:t>2 (443</a:t>
                      </a:r>
                      <a:r>
                        <a:rPr lang="nb-NO" sz="1200" baseline="0" dirty="0">
                          <a:solidFill>
                            <a:schemeClr val="tx1"/>
                          </a:solidFill>
                        </a:rPr>
                        <a:t> elever)</a:t>
                      </a:r>
                      <a:endParaRPr lang="nb-NO" sz="1200" dirty="0">
                        <a:solidFill>
                          <a:schemeClr val="tx1"/>
                        </a:solidFill>
                      </a:endParaRPr>
                    </a:p>
                  </a:txBody>
                  <a:tcPr/>
                </a:tc>
                <a:extLst>
                  <a:ext uri="{0D108BD9-81ED-4DB2-BD59-A6C34878D82A}">
                    <a16:rowId xmlns:a16="http://schemas.microsoft.com/office/drawing/2014/main" val="3696038960"/>
                  </a:ext>
                </a:extLst>
              </a:tr>
              <a:tr h="312707">
                <a:tc>
                  <a:txBody>
                    <a:bodyPr/>
                    <a:lstStyle/>
                    <a:p>
                      <a:r>
                        <a:rPr lang="nb-NO" sz="1200"/>
                        <a:t>Ungdomsskoler</a:t>
                      </a:r>
                    </a:p>
                  </a:txBody>
                  <a:tcPr/>
                </a:tc>
                <a:tc>
                  <a:txBody>
                    <a:bodyPr/>
                    <a:lstStyle/>
                    <a:p>
                      <a:pPr algn="ctr"/>
                      <a:r>
                        <a:rPr lang="nb-NO" sz="1200" dirty="0">
                          <a:solidFill>
                            <a:schemeClr val="tx1"/>
                          </a:solidFill>
                        </a:rPr>
                        <a:t>1 (247 elever)</a:t>
                      </a:r>
                    </a:p>
                  </a:txBody>
                  <a:tcPr/>
                </a:tc>
                <a:extLst>
                  <a:ext uri="{0D108BD9-81ED-4DB2-BD59-A6C34878D82A}">
                    <a16:rowId xmlns:a16="http://schemas.microsoft.com/office/drawing/2014/main" val="291333389"/>
                  </a:ext>
                </a:extLst>
              </a:tr>
              <a:tr h="312707">
                <a:tc>
                  <a:txBody>
                    <a:bodyPr/>
                    <a:lstStyle/>
                    <a:p>
                      <a:r>
                        <a:rPr lang="nb-NO" sz="1200"/>
                        <a:t>Videregående skoler</a:t>
                      </a:r>
                    </a:p>
                  </a:txBody>
                  <a:tcPr/>
                </a:tc>
                <a:tc>
                  <a:txBody>
                    <a:bodyPr/>
                    <a:lstStyle/>
                    <a:p>
                      <a:pPr algn="ctr"/>
                      <a:r>
                        <a:rPr lang="nb-NO" sz="1200" dirty="0"/>
                        <a:t>Tvedestrand </a:t>
                      </a:r>
                      <a:r>
                        <a:rPr lang="nb-NO" sz="1200" dirty="0" err="1"/>
                        <a:t>vgs</a:t>
                      </a:r>
                      <a:endParaRPr lang="nb-NO" sz="1200" dirty="0"/>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Tannklinikk</a:t>
                      </a:r>
                    </a:p>
                  </a:txBody>
                  <a:tcPr/>
                </a:tc>
                <a:tc>
                  <a:txBody>
                    <a:bodyPr/>
                    <a:lstStyle/>
                    <a:p>
                      <a:pPr algn="ctr"/>
                      <a:r>
                        <a:rPr lang="nb-NO" sz="1200" dirty="0">
                          <a:solidFill>
                            <a:schemeClr val="tx1"/>
                          </a:solidFill>
                        </a:rPr>
                        <a:t>Tvedestrand</a:t>
                      </a:r>
                    </a:p>
                  </a:txBody>
                  <a:tcPr/>
                </a:tc>
                <a:extLst>
                  <a:ext uri="{0D108BD9-81ED-4DB2-BD59-A6C34878D82A}">
                    <a16:rowId xmlns:a16="http://schemas.microsoft.com/office/drawing/2014/main" val="3931694125"/>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Fylkesvei (km)</a:t>
                      </a:r>
                    </a:p>
                  </a:txBody>
                  <a:tcPr/>
                </a:tc>
                <a:tc>
                  <a:txBody>
                    <a:bodyPr/>
                    <a:lstStyle/>
                    <a:p>
                      <a:pPr algn="ctr"/>
                      <a:r>
                        <a:rPr lang="nb-NO" sz="1200" dirty="0"/>
                        <a:t>112</a:t>
                      </a:r>
                    </a:p>
                  </a:txBody>
                  <a:tcPr/>
                </a:tc>
                <a:extLst>
                  <a:ext uri="{0D108BD9-81ED-4DB2-BD59-A6C34878D82A}">
                    <a16:rowId xmlns:a16="http://schemas.microsoft.com/office/drawing/2014/main" val="2404607909"/>
                  </a:ext>
                </a:extLst>
              </a:tr>
            </a:tbl>
          </a:graphicData>
        </a:graphic>
      </p:graphicFrame>
      <p:graphicFrame>
        <p:nvGraphicFramePr>
          <p:cNvPr id="9" name="Tabell 8" descr="Nøkkelinformasjon om befolkningen i kommunen."/>
          <p:cNvGraphicFramePr>
            <a:graphicFrameLocks noGrp="1"/>
          </p:cNvGraphicFramePr>
          <p:nvPr>
            <p:extLst>
              <p:ext uri="{D42A27DB-BD31-4B8C-83A1-F6EECF244321}">
                <p14:modId xmlns:p14="http://schemas.microsoft.com/office/powerpoint/2010/main" val="1893336009"/>
              </p:ext>
            </p:extLst>
          </p:nvPr>
        </p:nvGraphicFramePr>
        <p:xfrm>
          <a:off x="4992520"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a:t>Folk</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Folketall</a:t>
                      </a:r>
                    </a:p>
                  </a:txBody>
                  <a:tcPr/>
                </a:tc>
                <a:tc>
                  <a:txBody>
                    <a:bodyPr/>
                    <a:lstStyle/>
                    <a:p>
                      <a:pPr algn="ctr"/>
                      <a:r>
                        <a:rPr lang="nb-NO" sz="1200" dirty="0"/>
                        <a:t>6 323</a:t>
                      </a:r>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Andel kvinner</a:t>
                      </a:r>
                    </a:p>
                  </a:txBody>
                  <a:tcPr/>
                </a:tc>
                <a:tc>
                  <a:txBody>
                    <a:bodyPr/>
                    <a:lstStyle/>
                    <a:p>
                      <a:pPr algn="ctr"/>
                      <a:r>
                        <a:rPr lang="nb-NO" sz="1200" dirty="0"/>
                        <a:t>49,1 (Agder:</a:t>
                      </a:r>
                      <a:r>
                        <a:rPr lang="nb-NO" sz="1200" baseline="0" dirty="0"/>
                        <a:t> </a:t>
                      </a:r>
                      <a:r>
                        <a:rPr lang="nb-NO" sz="1200" dirty="0"/>
                        <a:t>49,8)</a:t>
                      </a:r>
                    </a:p>
                  </a:txBody>
                  <a:tcPr/>
                </a:tc>
                <a:extLst>
                  <a:ext uri="{0D108BD9-81ED-4DB2-BD59-A6C34878D82A}">
                    <a16:rowId xmlns:a16="http://schemas.microsoft.com/office/drawing/2014/main" val="29133338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Andel i tettsted (SSB)</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t>49 %</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Gjennomsnittsalder</a:t>
                      </a:r>
                    </a:p>
                  </a:txBody>
                  <a:tcPr/>
                </a:tc>
                <a:tc>
                  <a:txBody>
                    <a:bodyPr/>
                    <a:lstStyle/>
                    <a:p>
                      <a:pPr algn="ctr"/>
                      <a:r>
                        <a:rPr lang="nb-NO" sz="1200" dirty="0"/>
                        <a:t>menn 43,4 – kvinner 44,7</a:t>
                      </a:r>
                    </a:p>
                  </a:txBody>
                  <a:tcPr/>
                </a:tc>
                <a:extLst>
                  <a:ext uri="{0D108BD9-81ED-4DB2-BD59-A6C34878D82A}">
                    <a16:rowId xmlns:a16="http://schemas.microsoft.com/office/drawing/2014/main" val="3931694125"/>
                  </a:ext>
                </a:extLst>
              </a:tr>
              <a:tr h="312707">
                <a:tc>
                  <a:txBody>
                    <a:bodyPr/>
                    <a:lstStyle/>
                    <a:p>
                      <a:r>
                        <a:rPr lang="nb-NO" sz="1200"/>
                        <a:t>Forventet levealder</a:t>
                      </a:r>
                    </a:p>
                  </a:txBody>
                  <a:tcPr/>
                </a:tc>
                <a:tc>
                  <a:txBody>
                    <a:bodyPr/>
                    <a:lstStyle/>
                    <a:p>
                      <a:pPr algn="ctr"/>
                      <a:r>
                        <a:rPr lang="nb-NO" sz="1200" dirty="0">
                          <a:solidFill>
                            <a:schemeClr val="tx1"/>
                          </a:solidFill>
                        </a:rPr>
                        <a:t>menn 79,4 - kvinner 82,4</a:t>
                      </a:r>
                    </a:p>
                  </a:txBody>
                  <a:tcPr/>
                </a:tc>
                <a:extLst>
                  <a:ext uri="{0D108BD9-81ED-4DB2-BD59-A6C34878D82A}">
                    <a16:rowId xmlns:a16="http://schemas.microsoft.com/office/drawing/2014/main" val="2448623123"/>
                  </a:ext>
                </a:extLst>
              </a:tr>
              <a:tr h="312707">
                <a:tc>
                  <a:txBody>
                    <a:bodyPr/>
                    <a:lstStyle/>
                    <a:p>
                      <a:pPr lvl="0">
                        <a:buNone/>
                      </a:pPr>
                      <a:r>
                        <a:rPr lang="nb-NO" sz="1200" b="0" u="none" strike="noStrike" noProof="0"/>
                        <a:t>Personer per husholdning</a:t>
                      </a:r>
                      <a:endParaRPr lang="nb-NO"/>
                    </a:p>
                  </a:txBody>
                  <a:tcPr/>
                </a:tc>
                <a:tc>
                  <a:txBody>
                    <a:bodyPr/>
                    <a:lstStyle/>
                    <a:p>
                      <a:pPr lvl="0" algn="ctr">
                        <a:buNone/>
                      </a:pPr>
                      <a:r>
                        <a:rPr lang="nb-NO" sz="1200" b="0" u="none" strike="noStrike" noProof="0" dirty="0">
                          <a:solidFill>
                            <a:schemeClr val="tx1"/>
                          </a:solidFill>
                        </a:rPr>
                        <a:t>2,04 (Agder: 2,15)</a:t>
                      </a:r>
                      <a:endParaRPr lang="nb-NO" dirty="0">
                        <a:solidFill>
                          <a:schemeClr val="tx1"/>
                        </a:solidFill>
                      </a:endParaRPr>
                    </a:p>
                  </a:txBody>
                  <a:tcPr/>
                </a:tc>
                <a:extLst>
                  <a:ext uri="{0D108BD9-81ED-4DB2-BD59-A6C34878D82A}">
                    <a16:rowId xmlns:a16="http://schemas.microsoft.com/office/drawing/2014/main" val="430348023"/>
                  </a:ext>
                </a:extLst>
              </a:tr>
            </a:tbl>
          </a:graphicData>
        </a:graphic>
      </p:graphicFrame>
      <p:graphicFrame>
        <p:nvGraphicFramePr>
          <p:cNvPr id="8" name="Tabell 7" descr="Tabell som viser nøkkelinformasjon om kommunen."/>
          <p:cNvGraphicFramePr>
            <a:graphicFrameLocks noGrp="1"/>
          </p:cNvGraphicFramePr>
          <p:nvPr>
            <p:extLst>
              <p:ext uri="{D42A27DB-BD31-4B8C-83A1-F6EECF244321}">
                <p14:modId xmlns:p14="http://schemas.microsoft.com/office/powerpoint/2010/main" val="1711719493"/>
              </p:ext>
            </p:extLst>
          </p:nvPr>
        </p:nvGraphicFramePr>
        <p:xfrm>
          <a:off x="4992520" y="3843728"/>
          <a:ext cx="3986158" cy="1876242"/>
        </p:xfrm>
        <a:graphic>
          <a:graphicData uri="http://schemas.openxmlformats.org/drawingml/2006/table">
            <a:tbl>
              <a:tblPr firstRow="1" bandRow="1">
                <a:tableStyleId>{7DF18680-E054-41AD-8BC1-D1AEF772440D}</a:tableStyleId>
              </a:tblPr>
              <a:tblGrid>
                <a:gridCol w="2217905">
                  <a:extLst>
                    <a:ext uri="{9D8B030D-6E8A-4147-A177-3AD203B41FA5}">
                      <a16:colId xmlns:a16="http://schemas.microsoft.com/office/drawing/2014/main" val="1134397318"/>
                    </a:ext>
                  </a:extLst>
                </a:gridCol>
                <a:gridCol w="1768253">
                  <a:extLst>
                    <a:ext uri="{9D8B030D-6E8A-4147-A177-3AD203B41FA5}">
                      <a16:colId xmlns:a16="http://schemas.microsoft.com/office/drawing/2014/main" val="4088212826"/>
                    </a:ext>
                  </a:extLst>
                </a:gridCol>
              </a:tblGrid>
              <a:tr h="312707">
                <a:tc gridSpan="2">
                  <a:txBody>
                    <a:bodyPr/>
                    <a:lstStyle/>
                    <a:p>
                      <a:pPr algn="ctr"/>
                      <a:r>
                        <a:rPr lang="nb-NO" sz="1200"/>
                        <a:t>Samfunn</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Administrasjonssenter</a:t>
                      </a:r>
                    </a:p>
                  </a:txBody>
                  <a:tcPr/>
                </a:tc>
                <a:tc>
                  <a:txBody>
                    <a:bodyPr/>
                    <a:lstStyle/>
                    <a:p>
                      <a:pPr algn="ctr"/>
                      <a:r>
                        <a:rPr lang="nb-NO" sz="1200" dirty="0">
                          <a:solidFill>
                            <a:schemeClr val="tx1"/>
                          </a:solidFill>
                        </a:rPr>
                        <a:t>Tvedestrand</a:t>
                      </a:r>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Interkommunalt politisk</a:t>
                      </a:r>
                      <a:r>
                        <a:rPr lang="nb-NO" sz="1200" baseline="0"/>
                        <a:t> råd</a:t>
                      </a:r>
                      <a:endParaRPr lang="nb-NO" sz="1200" dirty="0"/>
                    </a:p>
                  </a:txBody>
                  <a:tcPr/>
                </a:tc>
                <a:tc>
                  <a:txBody>
                    <a:bodyPr/>
                    <a:lstStyle/>
                    <a:p>
                      <a:pPr algn="ctr"/>
                      <a:r>
                        <a:rPr lang="nb-NO" sz="1200" dirty="0"/>
                        <a:t>Østre Agder</a:t>
                      </a:r>
                    </a:p>
                  </a:txBody>
                  <a:tcPr/>
                </a:tc>
                <a:extLst>
                  <a:ext uri="{0D108BD9-81ED-4DB2-BD59-A6C34878D82A}">
                    <a16:rowId xmlns:a16="http://schemas.microsoft.com/office/drawing/2014/main" val="291333389"/>
                  </a:ext>
                </a:extLst>
              </a:tr>
              <a:tr h="312707">
                <a:tc>
                  <a:txBody>
                    <a:bodyPr/>
                    <a:lstStyle/>
                    <a:p>
                      <a:r>
                        <a:rPr lang="nb-NO" sz="1200"/>
                        <a:t>Sentralitetsklasse</a:t>
                      </a:r>
                    </a:p>
                  </a:txBody>
                  <a:tcPr/>
                </a:tc>
                <a:tc>
                  <a:txBody>
                    <a:bodyPr/>
                    <a:lstStyle/>
                    <a:p>
                      <a:pPr algn="ctr"/>
                      <a:r>
                        <a:rPr lang="nb-NO" sz="1200" dirty="0"/>
                        <a:t>4</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err="1"/>
                        <a:t>Distriktsindeks</a:t>
                      </a:r>
                      <a:endParaRPr lang="nb-NO" sz="1200"/>
                    </a:p>
                  </a:txBody>
                  <a:tcPr/>
                </a:tc>
                <a:tc>
                  <a:txBody>
                    <a:bodyPr/>
                    <a:lstStyle/>
                    <a:p>
                      <a:pPr algn="ctr"/>
                      <a:r>
                        <a:rPr lang="nb-NO" sz="1200" dirty="0"/>
                        <a:t>56,8</a:t>
                      </a:r>
                    </a:p>
                  </a:txBody>
                  <a:tcPr/>
                </a:tc>
                <a:extLst>
                  <a:ext uri="{0D108BD9-81ED-4DB2-BD59-A6C34878D82A}">
                    <a16:rowId xmlns:a16="http://schemas.microsoft.com/office/drawing/2014/main" val="3931694125"/>
                  </a:ext>
                </a:extLst>
              </a:tr>
              <a:tr h="312707">
                <a:tc>
                  <a:txBody>
                    <a:bodyPr/>
                    <a:lstStyle/>
                    <a:p>
                      <a:r>
                        <a:rPr lang="nb-NO" sz="1200"/>
                        <a:t>BA-område</a:t>
                      </a:r>
                    </a:p>
                  </a:txBody>
                  <a:tcPr/>
                </a:tc>
                <a:tc>
                  <a:txBody>
                    <a:bodyPr/>
                    <a:lstStyle/>
                    <a:p>
                      <a:pPr algn="ctr"/>
                      <a:r>
                        <a:rPr lang="nb-NO" sz="1200" dirty="0"/>
                        <a:t>BA40 Arendal</a:t>
                      </a:r>
                    </a:p>
                  </a:txBody>
                  <a:tcPr/>
                </a:tc>
                <a:extLst>
                  <a:ext uri="{0D108BD9-81ED-4DB2-BD59-A6C34878D82A}">
                    <a16:rowId xmlns:a16="http://schemas.microsoft.com/office/drawing/2014/main" val="2448623123"/>
                  </a:ext>
                </a:extLst>
              </a:tr>
            </a:tbl>
          </a:graphicData>
        </a:graphic>
      </p:graphicFrame>
      <p:pic>
        <p:nvPicPr>
          <p:cNvPr id="6" name="Bilde 5" descr="Kart over kommune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06763" y="124709"/>
            <a:ext cx="2904366" cy="5803817"/>
          </a:xfrm>
          <a:prstGeom prst="rect">
            <a:avLst/>
          </a:prstGeom>
        </p:spPr>
      </p:pic>
    </p:spTree>
    <p:extLst>
      <p:ext uri="{BB962C8B-B14F-4D97-AF65-F5344CB8AC3E}">
        <p14:creationId xmlns:p14="http://schemas.microsoft.com/office/powerpoint/2010/main" val="1380386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9866" y="309869"/>
            <a:ext cx="10153651" cy="685606"/>
          </a:xfrm>
        </p:spPr>
        <p:txBody>
          <a:bodyPr/>
          <a:lstStyle/>
          <a:p>
            <a:r>
              <a:rPr lang="nb-NO" dirty="0"/>
              <a:t>Klimagassutslipp – referansebaner </a:t>
            </a:r>
          </a:p>
        </p:txBody>
      </p:sp>
      <p:sp>
        <p:nvSpPr>
          <p:cNvPr id="3" name="Plassholder for innhold 2"/>
          <p:cNvSpPr>
            <a:spLocks noGrp="1"/>
          </p:cNvSpPr>
          <p:nvPr>
            <p:ph idx="1"/>
          </p:nvPr>
        </p:nvSpPr>
        <p:spPr>
          <a:xfrm>
            <a:off x="316630" y="1282474"/>
            <a:ext cx="4226188" cy="4498817"/>
          </a:xfrm>
        </p:spPr>
        <p:txBody>
          <a:bodyPr/>
          <a:lstStyle/>
          <a:p>
            <a:r>
              <a:rPr lang="nb-NO" sz="2000" dirty="0"/>
              <a:t>Regionplan Agder har mål om at årlige utslipp skal reduseres med  55 % i 2030 sammenlignet med 2017.</a:t>
            </a:r>
          </a:p>
          <a:p>
            <a:endParaRPr lang="nb-NO" sz="800" dirty="0"/>
          </a:p>
          <a:p>
            <a:r>
              <a:rPr lang="nb-NO" sz="2000" dirty="0"/>
              <a:t>Figuren viser referansebane for utslipp med utgangspunkt i vedtatt nasjonal politikk.</a:t>
            </a:r>
          </a:p>
          <a:p>
            <a:endParaRPr lang="nb-NO" sz="800" dirty="0"/>
          </a:p>
          <a:p>
            <a:r>
              <a:rPr lang="nb-NO" sz="2000" dirty="0"/>
              <a:t>Referansebanen ligger langt over </a:t>
            </a:r>
            <a:r>
              <a:rPr lang="nb-NO" sz="2000" dirty="0" err="1"/>
              <a:t>målbanen</a:t>
            </a:r>
            <a:r>
              <a:rPr lang="nb-NO" sz="2000" dirty="0"/>
              <a:t> som må følges for å redusere utslippene med 55 % i 2030 sammenlignet med utslipp i 2017.</a:t>
            </a:r>
          </a:p>
        </p:txBody>
      </p:sp>
      <p:sp>
        <p:nvSpPr>
          <p:cNvPr id="5" name="TekstSylinder 4"/>
          <p:cNvSpPr txBox="1"/>
          <p:nvPr/>
        </p:nvSpPr>
        <p:spPr>
          <a:xfrm>
            <a:off x="7378262" y="6357399"/>
            <a:ext cx="4653455" cy="307777"/>
          </a:xfrm>
          <a:prstGeom prst="rect">
            <a:avLst/>
          </a:prstGeom>
          <a:noFill/>
        </p:spPr>
        <p:txBody>
          <a:bodyPr wrap="square" rtlCol="0">
            <a:spAutoFit/>
          </a:bodyPr>
          <a:lstStyle/>
          <a:p>
            <a:pPr algn="l"/>
            <a:r>
              <a:rPr lang="nb-NO" sz="1400" dirty="0"/>
              <a:t>Tonn CO</a:t>
            </a:r>
            <a:r>
              <a:rPr lang="nb-NO" sz="1400" baseline="30000" dirty="0"/>
              <a:t>2</a:t>
            </a:r>
            <a:r>
              <a:rPr lang="nb-NO" sz="1400" dirty="0"/>
              <a:t>, inkl. kvotepliktige utslipp, referanseår 2017</a:t>
            </a:r>
          </a:p>
        </p:txBody>
      </p:sp>
      <p:sp>
        <p:nvSpPr>
          <p:cNvPr id="6" name="TekstSylinder 5">
            <a:extLst>
              <a:ext uri="{FF2B5EF4-FFF2-40B4-BE49-F238E27FC236}">
                <a16:creationId xmlns:a16="http://schemas.microsoft.com/office/drawing/2014/main" id="{F678D4D1-44BB-7740-E2AA-366E218E16D4}"/>
              </a:ext>
            </a:extLst>
          </p:cNvPr>
          <p:cNvSpPr txBox="1"/>
          <p:nvPr/>
        </p:nvSpPr>
        <p:spPr>
          <a:xfrm>
            <a:off x="4279196" y="6295844"/>
            <a:ext cx="2887512" cy="369332"/>
          </a:xfrm>
          <a:prstGeom prst="rect">
            <a:avLst/>
          </a:prstGeom>
          <a:noFill/>
        </p:spPr>
        <p:txBody>
          <a:bodyPr wrap="square" rtlCol="0">
            <a:spAutoFit/>
          </a:bodyPr>
          <a:lstStyle/>
          <a:p>
            <a:pPr algn="l"/>
            <a:r>
              <a:rPr lang="nb-NO" dirty="0">
                <a:hlinkClick r:id="rId3"/>
              </a:rPr>
              <a:t>Rapport klimagassutslipp</a:t>
            </a:r>
            <a:endParaRPr lang="nb-NO" dirty="0"/>
          </a:p>
        </p:txBody>
      </p:sp>
      <p:graphicFrame>
        <p:nvGraphicFramePr>
          <p:cNvPr id="7" name="Diagram 6" descr="Linjediagram som viser historiske klimagassutslipp fra 2009. Nasjonal referansebane er benyttet til å beregne referansebane per sektor og kommune frem mot 2030. Inkl. kvotepliktige utslipp.">
            <a:extLst>
              <a:ext uri="{FF2B5EF4-FFF2-40B4-BE49-F238E27FC236}">
                <a16:creationId xmlns:a16="http://schemas.microsoft.com/office/drawing/2014/main" id="{D005A174-951D-5523-A50A-72D519C22056}"/>
              </a:ext>
            </a:extLst>
          </p:cNvPr>
          <p:cNvGraphicFramePr>
            <a:graphicFrameLocks/>
          </p:cNvGraphicFramePr>
          <p:nvPr>
            <p:extLst>
              <p:ext uri="{D42A27DB-BD31-4B8C-83A1-F6EECF244321}">
                <p14:modId xmlns:p14="http://schemas.microsoft.com/office/powerpoint/2010/main" val="1720013012"/>
              </p:ext>
            </p:extLst>
          </p:nvPr>
        </p:nvGraphicFramePr>
        <p:xfrm>
          <a:off x="4854472" y="1485595"/>
          <a:ext cx="6821594" cy="409257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465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84224" y="337671"/>
            <a:ext cx="10153651" cy="685606"/>
          </a:xfrm>
        </p:spPr>
        <p:txBody>
          <a:bodyPr/>
          <a:lstStyle/>
          <a:p>
            <a:r>
              <a:rPr lang="nb-NO" dirty="0"/>
              <a:t>Elektrifiseringsgrad per sektor</a:t>
            </a:r>
          </a:p>
        </p:txBody>
      </p:sp>
      <p:sp>
        <p:nvSpPr>
          <p:cNvPr id="3" name="Plassholder for innhold 2"/>
          <p:cNvSpPr>
            <a:spLocks noGrp="1"/>
          </p:cNvSpPr>
          <p:nvPr>
            <p:ph idx="1"/>
          </p:nvPr>
        </p:nvSpPr>
        <p:spPr>
          <a:xfrm>
            <a:off x="384224" y="1293305"/>
            <a:ext cx="2808012" cy="3997152"/>
          </a:xfrm>
        </p:spPr>
        <p:txBody>
          <a:bodyPr/>
          <a:lstStyle/>
          <a:p>
            <a:r>
              <a:rPr lang="nb-NO" sz="1800" dirty="0"/>
              <a:t>Målbildet Electric Region Agder 2030</a:t>
            </a:r>
            <a:r>
              <a:rPr lang="nb-NO" sz="1800" b="1" dirty="0"/>
              <a:t> </a:t>
            </a:r>
            <a:r>
              <a:rPr lang="nb-NO" sz="1800" dirty="0"/>
              <a:t>handler om å utnytte ett av regionens globale fortrinn for å realisere en visjon om et Agder hvor alt er elektrisk, alt er fornybart.</a:t>
            </a:r>
          </a:p>
          <a:p>
            <a:endParaRPr lang="nb-NO" sz="1800" dirty="0"/>
          </a:p>
          <a:p>
            <a:r>
              <a:rPr lang="nb-NO" sz="1800" dirty="0"/>
              <a:t>Dette skjer gjennom å elektrifisere samfunnet ved å erstatte fossil energi med fornybar elektrisitet.</a:t>
            </a:r>
            <a:r>
              <a:rPr lang="nb-NO" dirty="0"/>
              <a:t> </a:t>
            </a:r>
            <a:endParaRPr lang="nb-NO" sz="1800" dirty="0"/>
          </a:p>
        </p:txBody>
      </p:sp>
      <p:sp>
        <p:nvSpPr>
          <p:cNvPr id="4" name="TekstSylinder 3">
            <a:extLst>
              <a:ext uri="{FF2B5EF4-FFF2-40B4-BE49-F238E27FC236}">
                <a16:creationId xmlns:a16="http://schemas.microsoft.com/office/drawing/2014/main" id="{0869E888-2E18-3D55-4E60-D79BBED42385}"/>
              </a:ext>
            </a:extLst>
          </p:cNvPr>
          <p:cNvSpPr txBox="1"/>
          <p:nvPr/>
        </p:nvSpPr>
        <p:spPr>
          <a:xfrm>
            <a:off x="504365" y="5441772"/>
            <a:ext cx="2423432" cy="369332"/>
          </a:xfrm>
          <a:prstGeom prst="rect">
            <a:avLst/>
          </a:prstGeom>
          <a:noFill/>
        </p:spPr>
        <p:txBody>
          <a:bodyPr wrap="square" rtlCol="0">
            <a:spAutoFit/>
          </a:bodyPr>
          <a:lstStyle/>
          <a:p>
            <a:pPr algn="l"/>
            <a:r>
              <a:rPr lang="nb-NO" dirty="0">
                <a:hlinkClick r:id="rId3"/>
              </a:rPr>
              <a:t>Rapport elektrifisering</a:t>
            </a:r>
            <a:endParaRPr lang="nb-NO" dirty="0"/>
          </a:p>
        </p:txBody>
      </p:sp>
      <p:pic>
        <p:nvPicPr>
          <p:cNvPr id="7" name="Graphic 7">
            <a:extLst>
              <a:ext uri="{FF2B5EF4-FFF2-40B4-BE49-F238E27FC236}">
                <a16:creationId xmlns:a16="http://schemas.microsoft.com/office/drawing/2014/main" id="{124290E4-3D92-931E-286B-B85FB671A5A8}"/>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32021" y="1478541"/>
            <a:ext cx="372796" cy="372796"/>
          </a:xfrm>
          <a:prstGeom prst="rect">
            <a:avLst/>
          </a:prstGeom>
        </p:spPr>
      </p:pic>
      <p:pic>
        <p:nvPicPr>
          <p:cNvPr id="8" name="Graphic 8">
            <a:extLst>
              <a:ext uri="{FF2B5EF4-FFF2-40B4-BE49-F238E27FC236}">
                <a16:creationId xmlns:a16="http://schemas.microsoft.com/office/drawing/2014/main" id="{A9BE8DBC-C505-451F-F43A-332B9314D642}"/>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59601" y="1441305"/>
            <a:ext cx="372796" cy="372796"/>
          </a:xfrm>
          <a:prstGeom prst="rect">
            <a:avLst/>
          </a:prstGeom>
        </p:spPr>
      </p:pic>
      <p:pic>
        <p:nvPicPr>
          <p:cNvPr id="9" name="Content Placeholder 5">
            <a:extLst>
              <a:ext uri="{FF2B5EF4-FFF2-40B4-BE49-F238E27FC236}">
                <a16:creationId xmlns:a16="http://schemas.microsoft.com/office/drawing/2014/main" id="{B587BB7E-8572-1A80-5302-2687D1490CF2}"/>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15295" y="1446477"/>
            <a:ext cx="405419" cy="405419"/>
          </a:xfrm>
          <a:prstGeom prst="rect">
            <a:avLst/>
          </a:prstGeom>
        </p:spPr>
      </p:pic>
      <p:pic>
        <p:nvPicPr>
          <p:cNvPr id="10" name="Graphic 10">
            <a:extLst>
              <a:ext uri="{FF2B5EF4-FFF2-40B4-BE49-F238E27FC236}">
                <a16:creationId xmlns:a16="http://schemas.microsoft.com/office/drawing/2014/main" id="{F1FEE35B-0B33-A1F9-A8A6-AC62BD70183B}"/>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962062" y="1473369"/>
            <a:ext cx="372796" cy="372796"/>
          </a:xfrm>
          <a:prstGeom prst="rect">
            <a:avLst/>
          </a:prstGeom>
        </p:spPr>
      </p:pic>
      <p:pic>
        <p:nvPicPr>
          <p:cNvPr id="11" name="Graphic 12">
            <a:extLst>
              <a:ext uri="{FF2B5EF4-FFF2-40B4-BE49-F238E27FC236}">
                <a16:creationId xmlns:a16="http://schemas.microsoft.com/office/drawing/2014/main" id="{4D3B195F-375E-CDE7-7A31-20B4DB96B2A9}"/>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617737" y="1446477"/>
            <a:ext cx="366290" cy="366290"/>
          </a:xfrm>
          <a:prstGeom prst="rect">
            <a:avLst/>
          </a:prstGeom>
        </p:spPr>
      </p:pic>
      <p:pic>
        <p:nvPicPr>
          <p:cNvPr id="12" name="Graphic 13">
            <a:extLst>
              <a:ext uri="{FF2B5EF4-FFF2-40B4-BE49-F238E27FC236}">
                <a16:creationId xmlns:a16="http://schemas.microsoft.com/office/drawing/2014/main" id="{2A2F51B5-E6E1-0E28-053D-158BAD143F90}"/>
              </a:ext>
              <a:ext uri="{C183D7F6-B498-43B3-948B-1728B52AA6E4}">
                <adec:decorative xmlns:adec="http://schemas.microsoft.com/office/drawing/2017/decorative" val="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881991" y="1395863"/>
            <a:ext cx="423388" cy="423388"/>
          </a:xfrm>
          <a:prstGeom prst="rect">
            <a:avLst/>
          </a:prstGeom>
        </p:spPr>
      </p:pic>
      <p:graphicFrame>
        <p:nvGraphicFramePr>
          <p:cNvPr id="5" name="Chart 17" descr="Stolpediagram som viser elektrifiseringsgrad per sektor.">
            <a:extLst>
              <a:ext uri="{FF2B5EF4-FFF2-40B4-BE49-F238E27FC236}">
                <a16:creationId xmlns:a16="http://schemas.microsoft.com/office/drawing/2014/main" id="{2F5FB7D3-232A-E4BD-5BFD-37DF36511B5E}"/>
              </a:ext>
            </a:extLst>
          </p:cNvPr>
          <p:cNvGraphicFramePr>
            <a:graphicFrameLocks/>
          </p:cNvGraphicFramePr>
          <p:nvPr>
            <p:extLst>
              <p:ext uri="{D42A27DB-BD31-4B8C-83A1-F6EECF244321}">
                <p14:modId xmlns:p14="http://schemas.microsoft.com/office/powerpoint/2010/main" val="2311639894"/>
              </p:ext>
            </p:extLst>
          </p:nvPr>
        </p:nvGraphicFramePr>
        <p:xfrm>
          <a:off x="3566983" y="1659767"/>
          <a:ext cx="8625875" cy="4151337"/>
        </p:xfrm>
        <a:graphic>
          <a:graphicData uri="http://schemas.openxmlformats.org/drawingml/2006/chart">
            <c:chart xmlns:c="http://schemas.openxmlformats.org/drawingml/2006/chart" xmlns:r="http://schemas.openxmlformats.org/officeDocument/2006/relationships" r:id="rId16"/>
          </a:graphicData>
        </a:graphic>
      </p:graphicFrame>
    </p:spTree>
    <p:extLst>
      <p:ext uri="{BB962C8B-B14F-4D97-AF65-F5344CB8AC3E}">
        <p14:creationId xmlns:p14="http://schemas.microsoft.com/office/powerpoint/2010/main" val="1763573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4"/>
          <a:srcRect l="1083" t="8500" r="-167" b="25190"/>
          <a:stretch/>
        </p:blipFill>
        <p:spPr>
          <a:xfrm>
            <a:off x="0" y="1327700"/>
            <a:ext cx="12212548" cy="5567468"/>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Grp="1" noChangeArrowheads="1"/>
          </p:cNvSpPr>
          <p:nvPr>
            <p:ph type="title" idx="4294967295"/>
            <p:custDataLst>
              <p:tags r:id="rId1"/>
            </p:custDataLst>
          </p:nvPr>
        </p:nvSpPr>
        <p:spPr bwMode="auto">
          <a:xfrm>
            <a:off x="2143232" y="1327700"/>
            <a:ext cx="7905536" cy="1169953"/>
          </a:xfrm>
          <a:prstGeom prst="rect">
            <a:avLst/>
          </a:prstGeom>
          <a:noFill/>
          <a:ln w="9525">
            <a:noFill/>
            <a:prstDash/>
            <a:miter lim="800000"/>
            <a:headEnd/>
            <a:tailEnd/>
          </a:ln>
          <a:effectLst/>
        </p:spPr>
        <p:txBody>
          <a:bodyPr rot="0" spcFirstLastPara="0" vertOverflow="overflow" horzOverflow="overflow" vert="horz" wrap="square" lIns="90011" tIns="108014" rIns="90011" bIns="46806" numCol="1" spcCol="0" rtlCol="0" fromWordArt="0" anchor="t" anchorCtr="0" forceAA="0" compatLnSpc="1">
            <a:prstTxWarp prst="textNoShape">
              <a:avLst/>
            </a:prstTxWarp>
            <a:noAutofit/>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marR="0" lvl="1" indent="0" algn="ctr" defTabSz="914400" rtl="0" eaLnBrk="1" fontAlgn="base" latinLnBrk="0" hangingPunct="1">
              <a:lnSpc>
                <a:spcPct val="100000"/>
              </a:lnSpc>
              <a:spcBef>
                <a:spcPct val="0"/>
              </a:spcBef>
              <a:spcAft>
                <a:spcPct val="30000"/>
              </a:spcAft>
              <a:buClr>
                <a:schemeClr val="accent1">
                  <a:lumMod val="100000"/>
                </a:schemeClr>
              </a:buClr>
              <a:buSzPct val="100000"/>
              <a:buFont typeface="Wingdings" pitchFamily="2" charset="2"/>
              <a:buNone/>
              <a:tabLst>
                <a:tab pos="266700" algn="l"/>
                <a:tab pos="631825" algn="l"/>
                <a:tab pos="981075" algn="l"/>
              </a:tabLst>
              <a:defRPr/>
            </a:pPr>
            <a:r>
              <a:rPr kumimoji="0" lang="nb-NO" sz="4800" b="0" i="0" u="none" strike="noStrike" kern="1200" cap="none" spc="0" normalizeH="0" baseline="0" noProof="0" dirty="0">
                <a:ln>
                  <a:noFill/>
                </a:ln>
                <a:solidFill>
                  <a:srgbClr val="EBDDA8"/>
                </a:solidFill>
                <a:effectLst/>
                <a:uLnTx/>
                <a:uFillTx/>
                <a:latin typeface="Arial Black" panose="020B0A04020102020204" pitchFamily="34" charset="0"/>
                <a:ea typeface="+mn-ea"/>
                <a:cs typeface="+mn-cs"/>
              </a:rPr>
              <a:t>Klimagassreduksjon i  </a:t>
            </a:r>
          </a:p>
        </p:txBody>
      </p:sp>
      <p:pic>
        <p:nvPicPr>
          <p:cNvPr id="14" name="Bilde 13" descr="Kommunenavn.">
            <a:extLst>
              <a:ext uri="{FF2B5EF4-FFF2-40B4-BE49-F238E27FC236}">
                <a16:creationId xmlns:a16="http://schemas.microsoft.com/office/drawing/2014/main" id="{D38AD872-5B14-3B3B-CC4B-A27FDE0FAD49}"/>
              </a:ext>
            </a:extLst>
          </p:cNvPr>
          <p:cNvPicPr/>
          <p:nvPr/>
        </p:nvPicPr>
        <p:blipFill>
          <a:blip r:embed="rId5"/>
          <a:stretch>
            <a:fillRect/>
          </a:stretch>
        </p:blipFill>
        <p:spPr>
          <a:xfrm>
            <a:off x="2052638" y="1984375"/>
            <a:ext cx="8086725" cy="933450"/>
          </a:xfrm>
          <a:prstGeom prst="rect">
            <a:avLst/>
          </a:prstGeom>
        </p:spPr>
      </p:pic>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dirty="0">
                <a:solidFill>
                  <a:schemeClr val="bg1"/>
                </a:solidFill>
              </a:rPr>
              <a:t>Dagens</a:t>
            </a:r>
          </a:p>
          <a:p>
            <a:pPr algn="ctr"/>
            <a:r>
              <a:rPr lang="nb-NO" dirty="0">
                <a:solidFill>
                  <a:schemeClr val="bg1"/>
                </a:solidFill>
              </a:rPr>
              <a:t>Klimagassutslipp (tonn CO2-ekv)</a:t>
            </a:r>
          </a:p>
        </p:txBody>
      </p:sp>
      <p:sp>
        <p:nvSpPr>
          <p:cNvPr id="13" name="TextBox 12">
            <a:extLst>
              <a:ext uri="{FF2B5EF4-FFF2-40B4-BE49-F238E27FC236}">
                <a16:creationId xmlns:a16="http://schemas.microsoft.com/office/drawing/2014/main" id="{0CE86C2E-3F6D-47F7-BCB9-A448CABB2558}"/>
              </a:ext>
            </a:extLst>
          </p:cNvPr>
          <p:cNvSpPr txBox="1"/>
          <p:nvPr/>
        </p:nvSpPr>
        <p:spPr>
          <a:xfrm>
            <a:off x="4618835" y="3957020"/>
            <a:ext cx="2394857" cy="923330"/>
          </a:xfrm>
          <a:prstGeom prst="rect">
            <a:avLst/>
          </a:prstGeom>
          <a:noFill/>
        </p:spPr>
        <p:txBody>
          <a:bodyPr wrap="square" rtlCol="0">
            <a:spAutoFit/>
          </a:bodyPr>
          <a:lstStyle/>
          <a:p>
            <a:pPr algn="ctr"/>
            <a:r>
              <a:rPr lang="nb-NO" dirty="0">
                <a:solidFill>
                  <a:schemeClr val="bg1"/>
                </a:solidFill>
              </a:rPr>
              <a:t>Klimagassutslipp ved fullelektrifisering* (tonn CO2-ekv)</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dirty="0">
                <a:solidFill>
                  <a:schemeClr val="bg1"/>
                </a:solidFill>
              </a:rPr>
              <a:t>Redusert klimagassutslipp etter elektrifisering</a:t>
            </a:r>
          </a:p>
        </p:txBody>
      </p:sp>
      <p:sp>
        <p:nvSpPr>
          <p:cNvPr id="8" name="TextBox 7">
            <a:extLst>
              <a:ext uri="{FF2B5EF4-FFF2-40B4-BE49-F238E27FC236}">
                <a16:creationId xmlns:a16="http://schemas.microsoft.com/office/drawing/2014/main" id="{48239D78-0D45-4521-89A9-49C29BD45219}"/>
              </a:ext>
            </a:extLst>
          </p:cNvPr>
          <p:cNvSpPr txBox="1"/>
          <p:nvPr/>
        </p:nvSpPr>
        <p:spPr>
          <a:xfrm>
            <a:off x="8401377" y="6577339"/>
            <a:ext cx="5927070" cy="261610"/>
          </a:xfrm>
          <a:prstGeom prst="rect">
            <a:avLst/>
          </a:prstGeom>
          <a:noFill/>
        </p:spPr>
        <p:txBody>
          <a:bodyPr wrap="square" rtlCol="0">
            <a:spAutoFit/>
          </a:bodyPr>
          <a:lstStyle/>
          <a:p>
            <a:pPr algn="l"/>
            <a:r>
              <a:rPr lang="en-US" sz="1100" dirty="0">
                <a:solidFill>
                  <a:schemeClr val="bg1"/>
                </a:solidFill>
              </a:rPr>
              <a:t>*</a:t>
            </a:r>
            <a:r>
              <a:rPr lang="en-US" sz="1100" dirty="0" err="1">
                <a:solidFill>
                  <a:schemeClr val="bg1"/>
                </a:solidFill>
              </a:rPr>
              <a:t>Elektrisifisering</a:t>
            </a:r>
            <a:r>
              <a:rPr lang="en-US" sz="1100" dirty="0">
                <a:solidFill>
                  <a:schemeClr val="bg1"/>
                </a:solidFill>
              </a:rPr>
              <a:t> av Transport </a:t>
            </a:r>
            <a:r>
              <a:rPr lang="en-US" sz="1100" dirty="0" err="1">
                <a:solidFill>
                  <a:schemeClr val="bg1"/>
                </a:solidFill>
              </a:rPr>
              <a:t>og</a:t>
            </a:r>
            <a:r>
              <a:rPr lang="en-US" sz="1100" dirty="0">
                <a:solidFill>
                  <a:schemeClr val="bg1"/>
                </a:solidFill>
              </a:rPr>
              <a:t> </a:t>
            </a:r>
            <a:r>
              <a:rPr lang="en-US" sz="1100" dirty="0" err="1">
                <a:solidFill>
                  <a:schemeClr val="bg1"/>
                </a:solidFill>
              </a:rPr>
              <a:t>annen</a:t>
            </a:r>
            <a:r>
              <a:rPr lang="en-US" sz="1100" dirty="0">
                <a:solidFill>
                  <a:schemeClr val="bg1"/>
                </a:solidFill>
              </a:rPr>
              <a:t> </a:t>
            </a:r>
            <a:r>
              <a:rPr lang="en-US" sz="1100" dirty="0" err="1">
                <a:solidFill>
                  <a:schemeClr val="bg1"/>
                </a:solidFill>
              </a:rPr>
              <a:t>mobil</a:t>
            </a:r>
            <a:r>
              <a:rPr lang="en-US" sz="1100" dirty="0">
                <a:solidFill>
                  <a:schemeClr val="bg1"/>
                </a:solidFill>
              </a:rPr>
              <a:t> </a:t>
            </a:r>
            <a:r>
              <a:rPr lang="en-US" sz="1100" dirty="0" err="1">
                <a:solidFill>
                  <a:schemeClr val="bg1"/>
                </a:solidFill>
              </a:rPr>
              <a:t>forbrenning</a:t>
            </a:r>
            <a:endParaRPr lang="en-US" sz="1100" dirty="0">
              <a:solidFill>
                <a:schemeClr val="bg1"/>
              </a:solidFill>
            </a:endParaRPr>
          </a:p>
        </p:txBody>
      </p:sp>
      <p:pic>
        <p:nvPicPr>
          <p:cNvPr id="2" name="Bilde 1" descr="Dagens klimagassutslipp (tonn CO2-ekv).">
            <a:extLst>
              <a:ext uri="{FF2B5EF4-FFF2-40B4-BE49-F238E27FC236}">
                <a16:creationId xmlns:a16="http://schemas.microsoft.com/office/drawing/2014/main" id="{333F0582-1B81-2B2D-514C-5392A0CF50B6}"/>
              </a:ext>
            </a:extLst>
          </p:cNvPr>
          <p:cNvPicPr/>
          <p:nvPr/>
        </p:nvPicPr>
        <p:blipFill>
          <a:blip r:embed="rId6"/>
          <a:stretch>
            <a:fillRect/>
          </a:stretch>
        </p:blipFill>
        <p:spPr>
          <a:xfrm>
            <a:off x="-1320301" y="3217863"/>
            <a:ext cx="4229101" cy="784225"/>
          </a:xfrm>
          <a:prstGeom prst="rect">
            <a:avLst/>
          </a:prstGeom>
        </p:spPr>
      </p:pic>
      <p:pic>
        <p:nvPicPr>
          <p:cNvPr id="3" name="Bilde 2" descr="Redusert klimagassutslipp etter elektrifisering.">
            <a:extLst>
              <a:ext uri="{FF2B5EF4-FFF2-40B4-BE49-F238E27FC236}">
                <a16:creationId xmlns:a16="http://schemas.microsoft.com/office/drawing/2014/main" id="{4589F266-D87D-8F47-5EAD-81677CFEF623}"/>
              </a:ext>
            </a:extLst>
          </p:cNvPr>
          <p:cNvPicPr/>
          <p:nvPr/>
        </p:nvPicPr>
        <p:blipFill>
          <a:blip r:embed="rId7"/>
          <a:stretch>
            <a:fillRect/>
          </a:stretch>
        </p:blipFill>
        <p:spPr>
          <a:xfrm>
            <a:off x="6596838" y="3222625"/>
            <a:ext cx="8313738" cy="784225"/>
          </a:xfrm>
          <a:prstGeom prst="rect">
            <a:avLst/>
          </a:prstGeom>
        </p:spPr>
      </p:pic>
      <p:pic>
        <p:nvPicPr>
          <p:cNvPr id="4" name="Bilde 3" descr="Klimagassutslipp ved fullelektrifisering* (tonn CO2-ekv). *Elektrisifisering av Transport og annen mobil forbrenning.">
            <a:extLst>
              <a:ext uri="{FF2B5EF4-FFF2-40B4-BE49-F238E27FC236}">
                <a16:creationId xmlns:a16="http://schemas.microsoft.com/office/drawing/2014/main" id="{500D2BE8-D8AA-E9C4-F713-9CF796726C59}"/>
              </a:ext>
            </a:extLst>
          </p:cNvPr>
          <p:cNvPicPr/>
          <p:nvPr/>
        </p:nvPicPr>
        <p:blipFill>
          <a:blip r:embed="rId8"/>
          <a:stretch>
            <a:fillRect/>
          </a:stretch>
        </p:blipFill>
        <p:spPr>
          <a:xfrm>
            <a:off x="2435826" y="3222625"/>
            <a:ext cx="4251325" cy="784225"/>
          </a:xfrm>
          <a:prstGeom prst="rect">
            <a:avLst/>
          </a:prstGeom>
        </p:spPr>
      </p:pic>
    </p:spTree>
    <p:extLst>
      <p:ext uri="{BB962C8B-B14F-4D97-AF65-F5344CB8AC3E}">
        <p14:creationId xmlns:p14="http://schemas.microsoft.com/office/powerpoint/2010/main" val="55924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40377" y="247517"/>
            <a:ext cx="5883940" cy="685606"/>
          </a:xfrm>
        </p:spPr>
        <p:txBody>
          <a:bodyPr/>
          <a:lstStyle/>
          <a:p>
            <a:r>
              <a:rPr lang="nb-NO" dirty="0"/>
              <a:t>Arealressurser</a:t>
            </a:r>
          </a:p>
        </p:txBody>
      </p:sp>
      <p:sp>
        <p:nvSpPr>
          <p:cNvPr id="16" name="TekstSylinder 15">
            <a:extLst>
              <a:ext uri="{FF2B5EF4-FFF2-40B4-BE49-F238E27FC236}">
                <a16:creationId xmlns:a16="http://schemas.microsoft.com/office/drawing/2014/main" id="{01B63842-A613-4DE2-23CF-65894B874DE1}"/>
              </a:ext>
            </a:extLst>
          </p:cNvPr>
          <p:cNvSpPr txBox="1"/>
          <p:nvPr/>
        </p:nvSpPr>
        <p:spPr>
          <a:xfrm>
            <a:off x="446522" y="1118702"/>
            <a:ext cx="5274340" cy="1200329"/>
          </a:xfrm>
          <a:prstGeom prst="rect">
            <a:avLst/>
          </a:prstGeom>
          <a:noFill/>
        </p:spPr>
        <p:txBody>
          <a:bodyPr wrap="square" rtlCol="0">
            <a:spAutoFit/>
          </a:bodyPr>
          <a:lstStyle/>
          <a:p>
            <a:pPr algn="l"/>
            <a:r>
              <a:rPr lang="nb-NO" b="0" i="0" dirty="0">
                <a:solidFill>
                  <a:srgbClr val="000000"/>
                </a:solidFill>
                <a:effectLst/>
                <a:latin typeface="Arial" panose="020B0604020202020204" pitchFamily="34" charset="0"/>
              </a:rPr>
              <a:t>Per 2022 er 55</a:t>
            </a:r>
            <a:r>
              <a:rPr lang="nb-NO" dirty="0">
                <a:solidFill>
                  <a:srgbClr val="000000"/>
                </a:solidFill>
                <a:latin typeface="Arial" panose="020B0604020202020204" pitchFamily="34" charset="0"/>
              </a:rPr>
              <a:t> </a:t>
            </a:r>
            <a:r>
              <a:rPr lang="nb-NO" b="0" i="0" dirty="0">
                <a:solidFill>
                  <a:srgbClr val="000000"/>
                </a:solidFill>
                <a:effectLst/>
                <a:latin typeface="Arial" panose="020B0604020202020204" pitchFamily="34" charset="0"/>
              </a:rPr>
              <a:t>% av Tvedestrand kommune sitt areal dekket av skog, 30 % hav, 4 % ferskvann</a:t>
            </a:r>
            <a:r>
              <a:rPr lang="nb-NO" dirty="0">
                <a:solidFill>
                  <a:srgbClr val="000000"/>
                </a:solidFill>
                <a:latin typeface="Arial" panose="020B0604020202020204" pitchFamily="34" charset="0"/>
              </a:rPr>
              <a:t>,   2 % myr</a:t>
            </a:r>
            <a:r>
              <a:rPr lang="nb-NO" b="0" i="0" dirty="0">
                <a:solidFill>
                  <a:srgbClr val="000000"/>
                </a:solidFill>
                <a:effectLst/>
                <a:latin typeface="Arial" panose="020B0604020202020204" pitchFamily="34" charset="0"/>
              </a:rPr>
              <a:t>, mens fulldyrka jord utgjør 2 %. Bebygd areal og samferdsel utgjør til sammen 3,5 %. </a:t>
            </a:r>
            <a:endParaRPr lang="nb-NO" dirty="0"/>
          </a:p>
        </p:txBody>
      </p:sp>
      <p:pic>
        <p:nvPicPr>
          <p:cNvPr id="5" name="Bilde 4" descr="Stolpediagram som viser antall dekar per arealtype i kommunen.">
            <a:extLst>
              <a:ext uri="{FF2B5EF4-FFF2-40B4-BE49-F238E27FC236}">
                <a16:creationId xmlns:a16="http://schemas.microsoft.com/office/drawing/2014/main" id="{FAA694B8-ED19-28F8-2D38-7B364AB484E4}"/>
              </a:ext>
            </a:extLst>
          </p:cNvPr>
          <p:cNvPicPr>
            <a:picLocks noChangeAspect="1"/>
          </p:cNvPicPr>
          <p:nvPr/>
        </p:nvPicPr>
        <p:blipFill>
          <a:blip r:embed="rId3"/>
          <a:stretch>
            <a:fillRect/>
          </a:stretch>
        </p:blipFill>
        <p:spPr>
          <a:xfrm>
            <a:off x="446522" y="2752165"/>
            <a:ext cx="5048250" cy="3009900"/>
          </a:xfrm>
          <a:prstGeom prst="rect">
            <a:avLst/>
          </a:prstGeom>
        </p:spPr>
      </p:pic>
      <p:sp>
        <p:nvSpPr>
          <p:cNvPr id="7" name="Plassholder for innhold 2"/>
          <p:cNvSpPr txBox="1">
            <a:spLocks/>
          </p:cNvSpPr>
          <p:nvPr/>
        </p:nvSpPr>
        <p:spPr>
          <a:xfrm>
            <a:off x="6072554" y="1178336"/>
            <a:ext cx="5672924" cy="1140695"/>
          </a:xfrm>
          <a:prstGeom prst="rect">
            <a:avLst/>
          </a:prstGeom>
          <a:solidFill>
            <a:schemeClr val="bg1">
              <a:alpha val="28000"/>
            </a:schemeClr>
          </a:solidFill>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800" dirty="0"/>
              <a:t>Ca. 13 % av arealet i Tvedestrand er vernet etter naturmangfoldloven. </a:t>
            </a:r>
          </a:p>
          <a:p>
            <a:pPr marL="0" indent="0">
              <a:buNone/>
            </a:pPr>
            <a:r>
              <a:rPr lang="nb-NO" sz="1800" dirty="0"/>
              <a:t>Samlet for Agder er 16,3 % av arealet vernet. </a:t>
            </a:r>
          </a:p>
        </p:txBody>
      </p:sp>
      <p:graphicFrame>
        <p:nvGraphicFramePr>
          <p:cNvPr id="12" name="Chart 1" descr="Kombinert stolpe og linjediagram som viser vernet areal for hver kommune i Agder. Stolpe viser km2 og linje viser % av areal som er vernet.">
            <a:extLst>
              <a:ext uri="{FF2B5EF4-FFF2-40B4-BE49-F238E27FC236}">
                <a16:creationId xmlns:a16="http://schemas.microsoft.com/office/drawing/2014/main" id="{02F3DED4-52B2-ED4A-F002-268A294A1591}"/>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3334998820"/>
              </p:ext>
            </p:extLst>
          </p:nvPr>
        </p:nvGraphicFramePr>
        <p:xfrm>
          <a:off x="5978284" y="2752166"/>
          <a:ext cx="6040247" cy="30099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610994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435C770-84CE-FE99-7F0F-1CBC0D10658C}"/>
              </a:ext>
            </a:extLst>
          </p:cNvPr>
          <p:cNvSpPr>
            <a:spLocks noGrp="1"/>
          </p:cNvSpPr>
          <p:nvPr>
            <p:ph type="title"/>
          </p:nvPr>
        </p:nvSpPr>
        <p:spPr>
          <a:xfrm>
            <a:off x="419303" y="267705"/>
            <a:ext cx="4699774" cy="685606"/>
          </a:xfrm>
        </p:spPr>
        <p:txBody>
          <a:bodyPr/>
          <a:lstStyle/>
          <a:p>
            <a:r>
              <a:rPr lang="nb-NO" dirty="0"/>
              <a:t>Planlagt arealbruk</a:t>
            </a:r>
          </a:p>
        </p:txBody>
      </p:sp>
      <p:sp>
        <p:nvSpPr>
          <p:cNvPr id="4" name="Plassholder for innhold 3">
            <a:extLst>
              <a:ext uri="{FF2B5EF4-FFF2-40B4-BE49-F238E27FC236}">
                <a16:creationId xmlns:a16="http://schemas.microsoft.com/office/drawing/2014/main" id="{5E03F8CB-2FC6-6289-5575-EDBBBBB03428}"/>
              </a:ext>
            </a:extLst>
          </p:cNvPr>
          <p:cNvSpPr>
            <a:spLocks noGrp="1"/>
          </p:cNvSpPr>
          <p:nvPr>
            <p:ph sz="half" idx="1"/>
          </p:nvPr>
        </p:nvSpPr>
        <p:spPr>
          <a:xfrm>
            <a:off x="419301" y="1073029"/>
            <a:ext cx="4699775" cy="4621899"/>
          </a:xfrm>
        </p:spPr>
        <p:txBody>
          <a:bodyPr/>
          <a:lstStyle/>
          <a:p>
            <a:r>
              <a:rPr lang="nn-NO" sz="2000" dirty="0"/>
              <a:t>Regionalt </a:t>
            </a:r>
            <a:r>
              <a:rPr lang="nn-NO" sz="2000" dirty="0">
                <a:hlinkClick r:id="rId3"/>
              </a:rPr>
              <a:t>arealregnskap</a:t>
            </a:r>
            <a:r>
              <a:rPr lang="nn-NO" sz="2000" dirty="0"/>
              <a:t> er utarbeida ved å </a:t>
            </a:r>
            <a:r>
              <a:rPr lang="nn-NO" sz="2000" dirty="0" err="1"/>
              <a:t>sammenstille</a:t>
            </a:r>
            <a:r>
              <a:rPr lang="nn-NO" sz="2000" dirty="0"/>
              <a:t> kommuneplanen sin arealdel, digitale </a:t>
            </a:r>
            <a:r>
              <a:rPr lang="nn-NO" sz="2000" dirty="0" err="1"/>
              <a:t>reguleringsplaner</a:t>
            </a:r>
            <a:r>
              <a:rPr lang="nn-NO" sz="2000" dirty="0"/>
              <a:t>, arealressursdata (AR5 og AR50) og SSB sitt datasett for arealbruk. </a:t>
            </a:r>
          </a:p>
          <a:p>
            <a:r>
              <a:rPr lang="nn-NO" sz="2000" dirty="0"/>
              <a:t>Regionalt arealregnskap viser at Tvedestrand har satt av store areal, og da </a:t>
            </a:r>
            <a:r>
              <a:rPr lang="nn-NO" sz="2000" dirty="0" err="1"/>
              <a:t>særlig</a:t>
            </a:r>
            <a:r>
              <a:rPr lang="nn-NO" sz="2000" dirty="0"/>
              <a:t> til </a:t>
            </a:r>
            <a:r>
              <a:rPr lang="nn-NO" sz="2000" dirty="0" err="1"/>
              <a:t>fritidsbebyggelse</a:t>
            </a:r>
            <a:r>
              <a:rPr lang="nn-NO" sz="2000" dirty="0"/>
              <a:t>. </a:t>
            </a:r>
          </a:p>
          <a:p>
            <a:r>
              <a:rPr lang="nn-NO" sz="2000" dirty="0"/>
              <a:t>Samla er det satt av byggeområde i natur </a:t>
            </a:r>
            <a:r>
              <a:rPr lang="nn-NO" sz="2000" dirty="0" err="1"/>
              <a:t>tilsvarende</a:t>
            </a:r>
            <a:r>
              <a:rPr lang="nn-NO" sz="2000" dirty="0"/>
              <a:t> 0,5 dekar per </a:t>
            </a:r>
            <a:r>
              <a:rPr lang="nn-NO" sz="2000" dirty="0" err="1"/>
              <a:t>innbygger</a:t>
            </a:r>
            <a:r>
              <a:rPr lang="nn-NO" sz="2000" dirty="0"/>
              <a:t>.</a:t>
            </a:r>
          </a:p>
          <a:p>
            <a:r>
              <a:rPr lang="nn-NO" sz="2000" dirty="0" err="1"/>
              <a:t>Gjeldende</a:t>
            </a:r>
            <a:r>
              <a:rPr lang="nn-NO" sz="2000" dirty="0"/>
              <a:t> planer </a:t>
            </a:r>
            <a:r>
              <a:rPr lang="nn-NO" sz="2000" dirty="0" err="1"/>
              <a:t>åpner</a:t>
            </a:r>
            <a:r>
              <a:rPr lang="nn-NO" sz="2000" dirty="0"/>
              <a:t> for utbygging av nesten 3 000 dekar skog.</a:t>
            </a:r>
          </a:p>
          <a:p>
            <a:endParaRPr lang="nb-NO" dirty="0"/>
          </a:p>
        </p:txBody>
      </p:sp>
      <p:pic>
        <p:nvPicPr>
          <p:cNvPr id="6" name="Bilde 5" descr="Bilde som viser tall i dekar for byggeområder i planer totalt. Hva som er tatt i bruk og antatt planreserve.">
            <a:extLst>
              <a:ext uri="{FF2B5EF4-FFF2-40B4-BE49-F238E27FC236}">
                <a16:creationId xmlns:a16="http://schemas.microsoft.com/office/drawing/2014/main" id="{E3C0FC5F-41A2-7EE5-B057-ED4F1E5B5F1A}"/>
              </a:ext>
            </a:extLst>
          </p:cNvPr>
          <p:cNvPicPr>
            <a:picLocks noChangeAspect="1"/>
          </p:cNvPicPr>
          <p:nvPr/>
        </p:nvPicPr>
        <p:blipFill>
          <a:blip r:embed="rId4"/>
          <a:stretch>
            <a:fillRect/>
          </a:stretch>
        </p:blipFill>
        <p:spPr>
          <a:xfrm>
            <a:off x="5558268" y="706090"/>
            <a:ext cx="6461467" cy="5131372"/>
          </a:xfrm>
          <a:prstGeom prst="rect">
            <a:avLst/>
          </a:prstGeom>
        </p:spPr>
      </p:pic>
      <p:sp>
        <p:nvSpPr>
          <p:cNvPr id="3" name="TekstSylinder 2">
            <a:extLst>
              <a:ext uri="{FF2B5EF4-FFF2-40B4-BE49-F238E27FC236}">
                <a16:creationId xmlns:a16="http://schemas.microsoft.com/office/drawing/2014/main" id="{CD9C356F-661F-3726-B778-142AE42AD9EB}"/>
              </a:ext>
            </a:extLst>
          </p:cNvPr>
          <p:cNvSpPr txBox="1"/>
          <p:nvPr/>
        </p:nvSpPr>
        <p:spPr>
          <a:xfrm>
            <a:off x="10572952" y="6163435"/>
            <a:ext cx="143118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n-NO" sz="1400" b="0" i="0" u="none" strike="noStrike" kern="1200" cap="none" spc="0" normalizeH="0" baseline="0" noProof="0" dirty="0">
                <a:ln>
                  <a:noFill/>
                </a:ln>
                <a:solidFill>
                  <a:srgbClr val="000000"/>
                </a:solidFill>
                <a:effectLst/>
                <a:uLnTx/>
                <a:uFillTx/>
                <a:latin typeface="Arial" panose="020B0604020202020204"/>
                <a:ea typeface="+mn-ea"/>
                <a:cs typeface="+mn-cs"/>
              </a:rPr>
              <a:t>Alle tall i dekar</a:t>
            </a:r>
          </a:p>
        </p:txBody>
      </p:sp>
    </p:spTree>
    <p:extLst>
      <p:ext uri="{BB962C8B-B14F-4D97-AF65-F5344CB8AC3E}">
        <p14:creationId xmlns:p14="http://schemas.microsoft.com/office/powerpoint/2010/main" val="2611775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56705" y="318522"/>
            <a:ext cx="10153651" cy="685606"/>
          </a:xfrm>
        </p:spPr>
        <p:txBody>
          <a:bodyPr/>
          <a:lstStyle/>
          <a:p>
            <a:r>
              <a:rPr lang="nb-NO" dirty="0"/>
              <a:t>Fritidsbebyggelse og eiere</a:t>
            </a:r>
          </a:p>
        </p:txBody>
      </p:sp>
      <p:sp>
        <p:nvSpPr>
          <p:cNvPr id="10" name="Plassholder for innhold 2"/>
          <p:cNvSpPr txBox="1">
            <a:spLocks/>
          </p:cNvSpPr>
          <p:nvPr/>
        </p:nvSpPr>
        <p:spPr>
          <a:xfrm>
            <a:off x="656705" y="1221114"/>
            <a:ext cx="4426572" cy="3520567"/>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ca. 1 800 bruksenheter til fritid i Tvedestrand, og ca. 3 600 eiere (alle eierandeler inkludert).</a:t>
            </a:r>
          </a:p>
          <a:p>
            <a:endParaRPr lang="nb-NO" sz="2000" dirty="0"/>
          </a:p>
          <a:p>
            <a:r>
              <a:rPr lang="nb-NO" sz="2000" dirty="0"/>
              <a:t>Figur gir en oversikt på antall hytteeiere fordelt på kommuner.</a:t>
            </a:r>
          </a:p>
          <a:p>
            <a:endParaRPr lang="nb-NO" sz="2000" dirty="0"/>
          </a:p>
          <a:p>
            <a:r>
              <a:rPr lang="nb-NO" sz="2000" dirty="0"/>
              <a:t>Kristiansand er største «hytteeierkommune».</a:t>
            </a:r>
          </a:p>
          <a:p>
            <a:endParaRPr lang="nb-NO" sz="2000" dirty="0"/>
          </a:p>
        </p:txBody>
      </p:sp>
      <p:pic>
        <p:nvPicPr>
          <p:cNvPr id="5" name="Bilde 4" descr="Bilde gir en oversikt på antall hytteeiere fordelt på kommuner. ">
            <a:extLst>
              <a:ext uri="{FF2B5EF4-FFF2-40B4-BE49-F238E27FC236}">
                <a16:creationId xmlns:a16="http://schemas.microsoft.com/office/drawing/2014/main" id="{B7A8BEB7-1899-1F5C-5076-A32E582C0BD1}"/>
              </a:ext>
            </a:extLst>
          </p:cNvPr>
          <p:cNvPicPr>
            <a:picLocks noChangeAspect="1"/>
          </p:cNvPicPr>
          <p:nvPr/>
        </p:nvPicPr>
        <p:blipFill>
          <a:blip r:embed="rId3"/>
          <a:stretch>
            <a:fillRect/>
          </a:stretch>
        </p:blipFill>
        <p:spPr>
          <a:xfrm>
            <a:off x="5650188" y="1221114"/>
            <a:ext cx="5324475" cy="4210050"/>
          </a:xfrm>
          <a:prstGeom prst="rect">
            <a:avLst/>
          </a:prstGeom>
        </p:spPr>
      </p:pic>
      <p:sp>
        <p:nvSpPr>
          <p:cNvPr id="11" name="TekstSylinder 10"/>
          <p:cNvSpPr txBox="1"/>
          <p:nvPr/>
        </p:nvSpPr>
        <p:spPr>
          <a:xfrm>
            <a:off x="10311897" y="6357399"/>
            <a:ext cx="1719820" cy="307777"/>
          </a:xfrm>
          <a:prstGeom prst="rect">
            <a:avLst/>
          </a:prstGeom>
          <a:noFill/>
        </p:spPr>
        <p:txBody>
          <a:bodyPr wrap="square" rtlCol="0">
            <a:spAutoFit/>
          </a:bodyPr>
          <a:lstStyle/>
          <a:p>
            <a:pPr algn="l"/>
            <a:r>
              <a:rPr lang="nb-NO" sz="1400"/>
              <a:t>Kilde: Matrikkelen</a:t>
            </a:r>
          </a:p>
        </p:txBody>
      </p:sp>
    </p:spTree>
    <p:extLst>
      <p:ext uri="{BB962C8B-B14F-4D97-AF65-F5344CB8AC3E}">
        <p14:creationId xmlns:p14="http://schemas.microsoft.com/office/powerpoint/2010/main" val="215452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17329" y="285489"/>
            <a:ext cx="10153651" cy="685606"/>
          </a:xfrm>
        </p:spPr>
        <p:txBody>
          <a:bodyPr/>
          <a:lstStyle/>
          <a:p>
            <a:r>
              <a:rPr lang="nb-NO" dirty="0"/>
              <a:t>Befolkning og demografi</a:t>
            </a:r>
          </a:p>
        </p:txBody>
      </p:sp>
      <p:pic>
        <p:nvPicPr>
          <p:cNvPr id="6" name="Bilde 5" descr="Befolkningsutvikling fra 2015 og befolkningsprognose frem til 2030. Utvikling og prognose er også fordelt på fødselsoverskudd, netto innenlands flytting og netto innvandring.">
            <a:extLst>
              <a:ext uri="{FF2B5EF4-FFF2-40B4-BE49-F238E27FC236}">
                <a16:creationId xmlns:a16="http://schemas.microsoft.com/office/drawing/2014/main" id="{1D5229CC-F532-2D1B-A952-AE8D120E057B}"/>
              </a:ext>
            </a:extLst>
          </p:cNvPr>
          <p:cNvPicPr>
            <a:picLocks noChangeAspect="1"/>
          </p:cNvPicPr>
          <p:nvPr/>
        </p:nvPicPr>
        <p:blipFill>
          <a:blip r:embed="rId3"/>
          <a:stretch>
            <a:fillRect/>
          </a:stretch>
        </p:blipFill>
        <p:spPr>
          <a:xfrm>
            <a:off x="414338" y="1090613"/>
            <a:ext cx="4743450" cy="3219450"/>
          </a:xfrm>
          <a:prstGeom prst="rect">
            <a:avLst/>
          </a:prstGeom>
        </p:spPr>
      </p:pic>
      <p:sp>
        <p:nvSpPr>
          <p:cNvPr id="4" name="TekstSylinder 3"/>
          <p:cNvSpPr txBox="1"/>
          <p:nvPr/>
        </p:nvSpPr>
        <p:spPr>
          <a:xfrm>
            <a:off x="417329" y="4657287"/>
            <a:ext cx="4740459" cy="1077218"/>
          </a:xfrm>
          <a:prstGeom prst="rect">
            <a:avLst/>
          </a:prstGeom>
          <a:noFill/>
        </p:spPr>
        <p:txBody>
          <a:bodyPr wrap="square" rtlCol="0">
            <a:spAutoFit/>
          </a:bodyPr>
          <a:lstStyle/>
          <a:p>
            <a:pPr algn="l"/>
            <a:r>
              <a:rPr lang="nb-NO" sz="1600" dirty="0"/>
              <a:t>SSB spår befolkningsøkning i Tvedestrand som følge av positiv </a:t>
            </a:r>
            <a:r>
              <a:rPr lang="nb-NO" sz="1600" dirty="0" err="1"/>
              <a:t>innenlandsflytting</a:t>
            </a:r>
            <a:r>
              <a:rPr lang="nb-NO" sz="1600" dirty="0"/>
              <a:t> og positiv netto innvandring. Dette oppveier for forventet negativt fødselsoverskudd.</a:t>
            </a:r>
          </a:p>
        </p:txBody>
      </p:sp>
      <p:pic>
        <p:nvPicPr>
          <p:cNvPr id="9" name="Bilde 8" descr="Befolkningspyramide som viser andel av befolkningen som er i aldersgruppe 0-19, 20-66 og 67+. Fordeling i 2024 og framskrivning til 2040. Egen figur med aldersbæreevne i 2024, 2040 og 2050.">
            <a:extLst>
              <a:ext uri="{FF2B5EF4-FFF2-40B4-BE49-F238E27FC236}">
                <a16:creationId xmlns:a16="http://schemas.microsoft.com/office/drawing/2014/main" id="{B9A19ADC-7D9D-3247-2D17-79A9F3DF0E7D}"/>
              </a:ext>
            </a:extLst>
          </p:cNvPr>
          <p:cNvPicPr>
            <a:picLocks noChangeAspect="1"/>
          </p:cNvPicPr>
          <p:nvPr/>
        </p:nvPicPr>
        <p:blipFill>
          <a:blip r:embed="rId4"/>
          <a:stretch>
            <a:fillRect/>
          </a:stretch>
        </p:blipFill>
        <p:spPr>
          <a:xfrm>
            <a:off x="5972383" y="1090613"/>
            <a:ext cx="5968365" cy="3219450"/>
          </a:xfrm>
          <a:prstGeom prst="rect">
            <a:avLst/>
          </a:prstGeom>
        </p:spPr>
      </p:pic>
      <p:sp>
        <p:nvSpPr>
          <p:cNvPr id="8" name="TekstSylinder 7"/>
          <p:cNvSpPr txBox="1"/>
          <p:nvPr/>
        </p:nvSpPr>
        <p:spPr>
          <a:xfrm>
            <a:off x="5972383" y="4577431"/>
            <a:ext cx="5968365" cy="830997"/>
          </a:xfrm>
          <a:prstGeom prst="rect">
            <a:avLst/>
          </a:prstGeom>
          <a:noFill/>
        </p:spPr>
        <p:txBody>
          <a:bodyPr wrap="square" rtlCol="0">
            <a:spAutoFit/>
          </a:bodyPr>
          <a:lstStyle/>
          <a:p>
            <a:pPr algn="l"/>
            <a:r>
              <a:rPr lang="nb-NO" sz="1600" dirty="0"/>
              <a:t>Dersom </a:t>
            </a:r>
            <a:r>
              <a:rPr lang="nb-NO" sz="1600" dirty="0" err="1"/>
              <a:t>SSB’s</a:t>
            </a:r>
            <a:r>
              <a:rPr lang="nb-NO" sz="1600" dirty="0"/>
              <a:t> framskriving slår til, vil aldersbæreevnen synke fra dagens 2,7 til 2,2 i 2040. Aldringen er svakere enn snittet for Agder, men utgangsbefolkningen (2024) er eldre. </a:t>
            </a:r>
          </a:p>
        </p:txBody>
      </p:sp>
      <p:sp>
        <p:nvSpPr>
          <p:cNvPr id="5" name="TekstSylinder 4">
            <a:extLst>
              <a:ext uri="{FF2B5EF4-FFF2-40B4-BE49-F238E27FC236}">
                <a16:creationId xmlns:a16="http://schemas.microsoft.com/office/drawing/2014/main" id="{6C9B66F4-BE42-6EAE-8E7C-40E98127D001}"/>
              </a:ext>
            </a:extLst>
          </p:cNvPr>
          <p:cNvSpPr txBox="1"/>
          <p:nvPr/>
        </p:nvSpPr>
        <p:spPr>
          <a:xfrm>
            <a:off x="8972197" y="6274494"/>
            <a:ext cx="3170157" cy="369332"/>
          </a:xfrm>
          <a:prstGeom prst="rect">
            <a:avLst/>
          </a:prstGeom>
          <a:noFill/>
        </p:spPr>
        <p:txBody>
          <a:bodyPr wrap="square" rtlCol="0">
            <a:spAutoFit/>
          </a:bodyPr>
          <a:lstStyle/>
          <a:p>
            <a:pPr algn="l"/>
            <a:r>
              <a:rPr lang="nb-NO" dirty="0">
                <a:hlinkClick r:id="rId5"/>
              </a:rPr>
              <a:t>Rapport befolkningsutvikling</a:t>
            </a:r>
            <a:endParaRPr lang="nb-NO" dirty="0"/>
          </a:p>
        </p:txBody>
      </p:sp>
    </p:spTree>
    <p:extLst>
      <p:ext uri="{BB962C8B-B14F-4D97-AF65-F5344CB8AC3E}">
        <p14:creationId xmlns:p14="http://schemas.microsoft.com/office/powerpoint/2010/main" val="34062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96763" y="403820"/>
            <a:ext cx="5110217" cy="685606"/>
          </a:xfrm>
        </p:spPr>
        <p:txBody>
          <a:bodyPr/>
          <a:lstStyle/>
          <a:p>
            <a:r>
              <a:rPr lang="nb-NO" dirty="0"/>
              <a:t>Befolkningsutvikling</a:t>
            </a:r>
          </a:p>
        </p:txBody>
      </p:sp>
      <p:sp>
        <p:nvSpPr>
          <p:cNvPr id="5" name="TekstSylinder 4"/>
          <p:cNvSpPr txBox="1"/>
          <p:nvPr/>
        </p:nvSpPr>
        <p:spPr>
          <a:xfrm>
            <a:off x="496763" y="1197551"/>
            <a:ext cx="5873892" cy="4524315"/>
          </a:xfrm>
          <a:prstGeom prst="rect">
            <a:avLst/>
          </a:prstGeom>
          <a:noFill/>
        </p:spPr>
        <p:txBody>
          <a:bodyPr wrap="square" rtlCol="0">
            <a:spAutoFit/>
          </a:bodyPr>
          <a:lstStyle/>
          <a:p>
            <a:r>
              <a:rPr lang="nb-NO" dirty="0"/>
              <a:t>Fra 2018 til 2023 vokste folketallet i Tvedestrand med 98 personer (1,6 %). De sentrumsnære grunnkretsene vokste en god del: Tveite (+82), Gladstad (+50) og </a:t>
            </a:r>
            <a:r>
              <a:rPr lang="nb-NO" dirty="0" err="1"/>
              <a:t>Myklebustad</a:t>
            </a:r>
            <a:r>
              <a:rPr lang="nb-NO" dirty="0"/>
              <a:t> (+61), mens Tvedestrand sentrum gikk ned.</a:t>
            </a:r>
          </a:p>
          <a:p>
            <a:endParaRPr lang="nb-NO" dirty="0"/>
          </a:p>
          <a:p>
            <a:r>
              <a:rPr lang="nb-NO" dirty="0"/>
              <a:t>Samtidig har det vært nedgang i mindre sentrale områder. Dette utviklingstrekket, der mange tettsteder og byer vokser mer eller mindre uavhengig av utviklingen i kommunen totalt sett er ikke spesielt for Tvedestrand. </a:t>
            </a:r>
          </a:p>
          <a:p>
            <a:endParaRPr lang="nb-NO" dirty="0"/>
          </a:p>
          <a:p>
            <a:r>
              <a:rPr lang="nb-NO" dirty="0"/>
              <a:t>Innvandring til byene, aldring, og søken etter nærhet til service/tjenester​ og arbeidsmarked​ er vanlige forklaringer på at trykket er størst i de sentrale områdene i en kommune.</a:t>
            </a:r>
          </a:p>
        </p:txBody>
      </p:sp>
      <p:pic>
        <p:nvPicPr>
          <p:cNvPr id="4" name="Plassholder for innhold 3" descr="Et bilde som inneholder tekst og kart. SSB's rutenettstatistikk som viser befolkningsutvikling i kommunen."/>
          <p:cNvPicPr>
            <a:picLocks noGrp="1" noChangeAspect="1"/>
          </p:cNvPicPr>
          <p:nvPr>
            <p:ph idx="1"/>
          </p:nvPr>
        </p:nvPicPr>
        <p:blipFill>
          <a:blip r:embed="rId3">
            <a:extLst>
              <a:ext uri="{28A0092B-C50C-407E-A947-70E740481C1C}">
                <a14:useLocalDpi xmlns:a14="http://schemas.microsoft.com/office/drawing/2010/main" val="0"/>
              </a:ext>
            </a:extLst>
          </a:blip>
          <a:srcRect/>
          <a:stretch/>
        </p:blipFill>
        <p:spPr>
          <a:xfrm>
            <a:off x="6646383" y="140303"/>
            <a:ext cx="5415915" cy="5858561"/>
          </a:xfrm>
        </p:spPr>
      </p:pic>
      <p:sp>
        <p:nvSpPr>
          <p:cNvPr id="3" name="TekstSylinder 2">
            <a:extLst>
              <a:ext uri="{FF2B5EF4-FFF2-40B4-BE49-F238E27FC236}">
                <a16:creationId xmlns:a16="http://schemas.microsoft.com/office/drawing/2014/main" id="{EA27315D-BF06-2FF4-884F-4E1145CA365E}"/>
              </a:ext>
            </a:extLst>
          </p:cNvPr>
          <p:cNvSpPr txBox="1"/>
          <p:nvPr/>
        </p:nvSpPr>
        <p:spPr>
          <a:xfrm>
            <a:off x="4511040" y="6226629"/>
            <a:ext cx="7114903" cy="430887"/>
          </a:xfrm>
          <a:prstGeom prst="rect">
            <a:avLst/>
          </a:prstGeom>
          <a:noFill/>
        </p:spPr>
        <p:txBody>
          <a:bodyPr wrap="square" rtlCol="0">
            <a:spAutoFit/>
          </a:bodyPr>
          <a:lstStyle/>
          <a:p>
            <a:r>
              <a:rPr lang="nb-NO" sz="1100" dirty="0"/>
              <a:t>Kart over befolkningsutvikling i kommuner og grunnkretser: </a:t>
            </a:r>
            <a:r>
              <a:rPr lang="nb-NO" sz="1100" dirty="0">
                <a:hlinkClick r:id="rId4"/>
              </a:rPr>
              <a:t>https://agderfk.maps.arcgis.com/apps/instant/media/index.html?appid=df4d1214bd3941d19d7a0b68de9145b1</a:t>
            </a:r>
            <a:r>
              <a:rPr lang="nb-NO" sz="1100" dirty="0"/>
              <a:t> </a:t>
            </a:r>
          </a:p>
        </p:txBody>
      </p:sp>
    </p:spTree>
    <p:extLst>
      <p:ext uri="{BB962C8B-B14F-4D97-AF65-F5344CB8AC3E}">
        <p14:creationId xmlns:p14="http://schemas.microsoft.com/office/powerpoint/2010/main" val="204484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12646" y="295470"/>
            <a:ext cx="4883086" cy="685606"/>
          </a:xfrm>
        </p:spPr>
        <p:txBody>
          <a:bodyPr/>
          <a:lstStyle/>
          <a:p>
            <a:r>
              <a:rPr lang="nb-NO" dirty="0"/>
              <a:t>Boligbygging 	</a:t>
            </a:r>
          </a:p>
        </p:txBody>
      </p:sp>
      <p:sp>
        <p:nvSpPr>
          <p:cNvPr id="7" name="Plassholder for innhold 2"/>
          <p:cNvSpPr txBox="1">
            <a:spLocks/>
          </p:cNvSpPr>
          <p:nvPr/>
        </p:nvSpPr>
        <p:spPr>
          <a:xfrm>
            <a:off x="379380" y="1221114"/>
            <a:ext cx="5639584" cy="1004969"/>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I perioden 2018-2023 ble det i gjennomsnitt igangsatt 42 boliger i året, hvorav ca. 55 % var eneboliger.</a:t>
            </a:r>
          </a:p>
        </p:txBody>
      </p:sp>
      <p:sp>
        <p:nvSpPr>
          <p:cNvPr id="6" name="Tittel 1">
            <a:extLst>
              <a:ext uri="{FF2B5EF4-FFF2-40B4-BE49-F238E27FC236}">
                <a16:creationId xmlns:a16="http://schemas.microsoft.com/office/drawing/2014/main" id="{FE1827B6-0835-954E-3585-D5D56FA7186C}"/>
              </a:ext>
            </a:extLst>
          </p:cNvPr>
          <p:cNvSpPr txBox="1">
            <a:spLocks/>
          </p:cNvSpPr>
          <p:nvPr/>
        </p:nvSpPr>
        <p:spPr>
          <a:xfrm>
            <a:off x="6540695" y="295470"/>
            <a:ext cx="4883086" cy="685606"/>
          </a:xfrm>
          <a:prstGeom prst="rect">
            <a:avLst/>
          </a:prstGeom>
        </p:spPr>
        <p:txBody>
          <a:bodyPr vert="horz" lIns="0" tIns="0" rIns="0" bIns="0" rtlCol="0" anchor="ctr" anchorCtr="0">
            <a:noAutofit/>
          </a:bodyPr>
          <a:lst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a:lstStyle>
          <a:p>
            <a:r>
              <a:rPr lang="nb-NO" dirty="0"/>
              <a:t>Boligmasse	</a:t>
            </a:r>
          </a:p>
        </p:txBody>
      </p:sp>
      <p:sp>
        <p:nvSpPr>
          <p:cNvPr id="18" name="Plassholder for innhold 2"/>
          <p:cNvSpPr txBox="1">
            <a:spLocks/>
          </p:cNvSpPr>
          <p:nvPr/>
        </p:nvSpPr>
        <p:spPr>
          <a:xfrm>
            <a:off x="6377459" y="1221115"/>
            <a:ext cx="5362259" cy="764930"/>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3 589 boliger i kommunen (bebodde og ubebodde).</a:t>
            </a:r>
          </a:p>
        </p:txBody>
      </p:sp>
      <p:sp>
        <p:nvSpPr>
          <p:cNvPr id="5" name="TekstSylinder 4">
            <a:extLst>
              <a:ext uri="{FF2B5EF4-FFF2-40B4-BE49-F238E27FC236}">
                <a16:creationId xmlns:a16="http://schemas.microsoft.com/office/drawing/2014/main" id="{7937958D-62FE-9603-BA05-2A8AC7B51C8D}"/>
              </a:ext>
            </a:extLst>
          </p:cNvPr>
          <p:cNvSpPr txBox="1"/>
          <p:nvPr/>
        </p:nvSpPr>
        <p:spPr>
          <a:xfrm>
            <a:off x="9516726" y="6193198"/>
            <a:ext cx="2423432" cy="369332"/>
          </a:xfrm>
          <a:prstGeom prst="rect">
            <a:avLst/>
          </a:prstGeom>
          <a:noFill/>
        </p:spPr>
        <p:txBody>
          <a:bodyPr wrap="square" rtlCol="0">
            <a:spAutoFit/>
          </a:bodyPr>
          <a:lstStyle/>
          <a:p>
            <a:pPr algn="l"/>
            <a:r>
              <a:rPr lang="nb-NO" dirty="0">
                <a:hlinkClick r:id="rId3"/>
              </a:rPr>
              <a:t>Rapport boligstatistikk</a:t>
            </a:r>
            <a:endParaRPr lang="nb-NO" dirty="0"/>
          </a:p>
        </p:txBody>
      </p:sp>
      <p:graphicFrame>
        <p:nvGraphicFramePr>
          <p:cNvPr id="3" name="Diagram 2" descr="Stolpediagram som viser igangsatte boliger. Benyttet SSB tabell 05940.">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1252011221"/>
              </p:ext>
            </p:extLst>
          </p:nvPr>
        </p:nvGraphicFramePr>
        <p:xfrm>
          <a:off x="551393" y="2466121"/>
          <a:ext cx="5195993" cy="324971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Diagram 3" descr="Boligmassen per 2024 (andel i prosent) - SSB 12941. Stolpediagram. Sammenligner kommune og Agder.">
            <a:extLst>
              <a:ext uri="{FF2B5EF4-FFF2-40B4-BE49-F238E27FC236}">
                <a16:creationId xmlns:a16="http://schemas.microsoft.com/office/drawing/2014/main" id="{00000000-0008-0000-0300-000003000000}"/>
              </a:ext>
            </a:extLst>
          </p:cNvPr>
          <p:cNvGraphicFramePr>
            <a:graphicFrameLocks/>
          </p:cNvGraphicFramePr>
          <p:nvPr>
            <p:extLst>
              <p:ext uri="{D42A27DB-BD31-4B8C-83A1-F6EECF244321}">
                <p14:modId xmlns:p14="http://schemas.microsoft.com/office/powerpoint/2010/main" val="1399997888"/>
              </p:ext>
            </p:extLst>
          </p:nvPr>
        </p:nvGraphicFramePr>
        <p:xfrm>
          <a:off x="6273516" y="2532689"/>
          <a:ext cx="5747385" cy="324971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63715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50" y="1679211"/>
            <a:ext cx="7109662" cy="1021481"/>
          </a:xfrm>
        </p:spPr>
        <p:txBody>
          <a:bodyPr/>
          <a:lstStyle/>
          <a:p>
            <a:r>
              <a:rPr lang="nb-NO"/>
              <a:t>Næringsutvikling og samarbeid om nye arbeidsplasser</a:t>
            </a:r>
          </a:p>
        </p:txBody>
      </p:sp>
      <p:sp>
        <p:nvSpPr>
          <p:cNvPr id="3" name="Undertittel 2"/>
          <p:cNvSpPr>
            <a:spLocks noGrp="1"/>
          </p:cNvSpPr>
          <p:nvPr>
            <p:ph type="subTitle" idx="1"/>
          </p:nvPr>
        </p:nvSpPr>
        <p:spPr>
          <a:xfrm>
            <a:off x="1193800" y="2866319"/>
            <a:ext cx="10171112" cy="1541688"/>
          </a:xfrm>
        </p:spPr>
        <p:txBody>
          <a:bodyPr/>
          <a:lstStyle/>
          <a:p>
            <a:r>
              <a:rPr lang="nb-NO" i="1"/>
              <a:t>I Regionplan Agder 2030 tegnes et fremtidsbilde der Agder i 2030 lykkes med å bruke det grønne skiftet til innovasjon og verdiskaping i privat og offentlig sektor. Utvikling og bruk av ny teknologi har bidratt til å løse store miljø- og klimautfordringer. Agder har utnyttet mulighetene innen digitalisering, automatisering og kunstig intelligens. Sirkulær økonomi, der ressurser og produkter gjenbrukes er et hovedprinsipp for næringsutvikling og veks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8448" y="5438966"/>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7475" y="5438966"/>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36502" y="5438966"/>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82793" y="5438966"/>
            <a:ext cx="1130400" cy="1130400"/>
          </a:xfrm>
          <a:prstGeom prst="rect">
            <a:avLst/>
          </a:prstGeom>
        </p:spPr>
      </p:pic>
    </p:spTree>
    <p:extLst>
      <p:ext uri="{BB962C8B-B14F-4D97-AF65-F5344CB8AC3E}">
        <p14:creationId xmlns:p14="http://schemas.microsoft.com/office/powerpoint/2010/main" val="244153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73578" y="265174"/>
            <a:ext cx="10153651" cy="685606"/>
          </a:xfrm>
        </p:spPr>
        <p:txBody>
          <a:bodyPr/>
          <a:lstStyle/>
          <a:p>
            <a:r>
              <a:rPr lang="nb-NO" dirty="0"/>
              <a:t>Sysselsetting</a:t>
            </a:r>
          </a:p>
        </p:txBody>
      </p:sp>
      <p:sp>
        <p:nvSpPr>
          <p:cNvPr id="5" name="Plassholder for innhold 3"/>
          <p:cNvSpPr>
            <a:spLocks noGrp="1"/>
          </p:cNvSpPr>
          <p:nvPr>
            <p:ph sz="half" idx="1"/>
          </p:nvPr>
        </p:nvSpPr>
        <p:spPr>
          <a:xfrm>
            <a:off x="573578" y="1156832"/>
            <a:ext cx="5277911" cy="2867561"/>
          </a:xfrm>
        </p:spPr>
        <p:txBody>
          <a:bodyPr/>
          <a:lstStyle/>
          <a:p>
            <a:pPr marL="0" indent="0">
              <a:buNone/>
            </a:pPr>
            <a:r>
              <a:rPr lang="nb-NO" sz="2000" i="1" dirty="0"/>
              <a:t>Regionale forskjeller:</a:t>
            </a:r>
          </a:p>
          <a:p>
            <a:r>
              <a:rPr lang="nb-NO" sz="2000" dirty="0"/>
              <a:t>Lavest sysselsettingsandel helt øst i Agder, og høyest  andel i de aller minst sentrale kommunene.</a:t>
            </a:r>
          </a:p>
          <a:p>
            <a:pPr marL="0" indent="0">
              <a:buNone/>
            </a:pPr>
            <a:r>
              <a:rPr lang="nb-NO" sz="2000" i="1" dirty="0"/>
              <a:t>Tvedestrand:</a:t>
            </a:r>
          </a:p>
          <a:p>
            <a:r>
              <a:rPr lang="nb-NO" sz="2000" dirty="0"/>
              <a:t>Lavere sysselsettingsandel enn fylket for øvrig. Sysselsettingsandelen er lavere en snittet i fylket for både menn og kvinner.</a:t>
            </a:r>
          </a:p>
          <a:p>
            <a:endParaRPr lang="nb-NO" sz="2000" dirty="0"/>
          </a:p>
        </p:txBody>
      </p:sp>
      <p:graphicFrame>
        <p:nvGraphicFramePr>
          <p:cNvPr id="6" name="Tabell 5"/>
          <p:cNvGraphicFramePr>
            <a:graphicFrameLocks noGrp="1"/>
          </p:cNvGraphicFramePr>
          <p:nvPr>
            <p:extLst>
              <p:ext uri="{D42A27DB-BD31-4B8C-83A1-F6EECF244321}">
                <p14:modId xmlns:p14="http://schemas.microsoft.com/office/powerpoint/2010/main" val="3536320613"/>
              </p:ext>
            </p:extLst>
          </p:nvPr>
        </p:nvGraphicFramePr>
        <p:xfrm>
          <a:off x="573578" y="4063458"/>
          <a:ext cx="4981907" cy="1493520"/>
        </p:xfrm>
        <a:graphic>
          <a:graphicData uri="http://schemas.openxmlformats.org/drawingml/2006/table">
            <a:tbl>
              <a:tblPr firstRow="1" bandRow="1">
                <a:tableStyleId>{7DF18680-E054-41AD-8BC1-D1AEF772440D}</a:tableStyleId>
              </a:tblPr>
              <a:tblGrid>
                <a:gridCol w="1284605">
                  <a:extLst>
                    <a:ext uri="{9D8B030D-6E8A-4147-A177-3AD203B41FA5}">
                      <a16:colId xmlns:a16="http://schemas.microsoft.com/office/drawing/2014/main" val="458187021"/>
                    </a:ext>
                  </a:extLst>
                </a:gridCol>
                <a:gridCol w="1232434">
                  <a:extLst>
                    <a:ext uri="{9D8B030D-6E8A-4147-A177-3AD203B41FA5}">
                      <a16:colId xmlns:a16="http://schemas.microsoft.com/office/drawing/2014/main" val="221583423"/>
                    </a:ext>
                  </a:extLst>
                </a:gridCol>
                <a:gridCol w="1232434">
                  <a:extLst>
                    <a:ext uri="{9D8B030D-6E8A-4147-A177-3AD203B41FA5}">
                      <a16:colId xmlns:a16="http://schemas.microsoft.com/office/drawing/2014/main" val="1883679846"/>
                    </a:ext>
                  </a:extLst>
                </a:gridCol>
                <a:gridCol w="1232434">
                  <a:extLst>
                    <a:ext uri="{9D8B030D-6E8A-4147-A177-3AD203B41FA5}">
                      <a16:colId xmlns:a16="http://schemas.microsoft.com/office/drawing/2014/main" val="2441713524"/>
                    </a:ext>
                  </a:extLst>
                </a:gridCol>
              </a:tblGrid>
              <a:tr h="458025">
                <a:tc>
                  <a:txBody>
                    <a:bodyPr/>
                    <a:lstStyle/>
                    <a:p>
                      <a:pPr algn="ctr"/>
                      <a:r>
                        <a:rPr lang="nb-NO" sz="1600" dirty="0"/>
                        <a:t>20-66</a:t>
                      </a:r>
                      <a:endParaRPr lang="nb-NO" sz="1600" b="1" dirty="0"/>
                    </a:p>
                  </a:txBody>
                  <a:tcPr anchor="ctr"/>
                </a:tc>
                <a:tc>
                  <a:txBody>
                    <a:bodyPr/>
                    <a:lstStyle/>
                    <a:p>
                      <a:pPr algn="ctr"/>
                      <a:r>
                        <a:rPr lang="nb-NO" sz="1600" dirty="0"/>
                        <a:t>Begge kjønn</a:t>
                      </a:r>
                      <a:endParaRPr lang="nb-NO" sz="1600" b="1" dirty="0"/>
                    </a:p>
                  </a:txBody>
                  <a:tcPr anchor="ctr"/>
                </a:tc>
                <a:tc>
                  <a:txBody>
                    <a:bodyPr/>
                    <a:lstStyle/>
                    <a:p>
                      <a:pPr algn="ctr"/>
                      <a:r>
                        <a:rPr lang="nb-NO" sz="1600" dirty="0"/>
                        <a:t>Menn</a:t>
                      </a:r>
                      <a:endParaRPr lang="nb-NO" sz="16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dirty="0"/>
                        <a:t>Kvinner</a:t>
                      </a:r>
                      <a:endParaRPr lang="nb-NO" sz="1600" b="1" dirty="0"/>
                    </a:p>
                  </a:txBody>
                  <a:tcPr anchor="ctr"/>
                </a:tc>
                <a:extLst>
                  <a:ext uri="{0D108BD9-81ED-4DB2-BD59-A6C34878D82A}">
                    <a16:rowId xmlns:a16="http://schemas.microsoft.com/office/drawing/2014/main" val="957641228"/>
                  </a:ext>
                </a:extLst>
              </a:tr>
              <a:tr h="269427">
                <a:tc>
                  <a:txBody>
                    <a:bodyPr/>
                    <a:lstStyle/>
                    <a:p>
                      <a:pPr algn="ctr"/>
                      <a:r>
                        <a:rPr lang="nb-NO" sz="1400" dirty="0"/>
                        <a:t>Tvedestrand</a:t>
                      </a:r>
                      <a:endParaRPr lang="nb-NO" sz="1400" b="1" dirty="0"/>
                    </a:p>
                  </a:txBody>
                  <a:tcPr anchor="ctr"/>
                </a:tc>
                <a:tc>
                  <a:txBody>
                    <a:bodyPr/>
                    <a:lstStyle/>
                    <a:p>
                      <a:pPr algn="ctr"/>
                      <a:r>
                        <a:rPr lang="nb-NO" sz="1400" dirty="0"/>
                        <a:t>70,0</a:t>
                      </a:r>
                      <a:endParaRPr lang="nb-NO" sz="1400" b="1" dirty="0"/>
                    </a:p>
                  </a:txBody>
                  <a:tcPr anchor="ctr"/>
                </a:tc>
                <a:tc>
                  <a:txBody>
                    <a:bodyPr/>
                    <a:lstStyle/>
                    <a:p>
                      <a:pPr algn="ctr"/>
                      <a:r>
                        <a:rPr lang="nb-NO" sz="1400" dirty="0"/>
                        <a:t>72,1</a:t>
                      </a:r>
                      <a:endParaRPr lang="nb-NO" sz="1400" b="1" dirty="0"/>
                    </a:p>
                  </a:txBody>
                  <a:tcPr anchor="ctr"/>
                </a:tc>
                <a:tc>
                  <a:txBody>
                    <a:bodyPr/>
                    <a:lstStyle/>
                    <a:p>
                      <a:pPr algn="ctr"/>
                      <a:r>
                        <a:rPr lang="nb-NO" sz="1400" dirty="0"/>
                        <a:t>67,9</a:t>
                      </a:r>
                      <a:endParaRPr lang="nb-NO" sz="1400" b="1" dirty="0"/>
                    </a:p>
                  </a:txBody>
                  <a:tcPr anchor="ctr"/>
                </a:tc>
                <a:extLst>
                  <a:ext uri="{0D108BD9-81ED-4DB2-BD59-A6C34878D82A}">
                    <a16:rowId xmlns:a16="http://schemas.microsoft.com/office/drawing/2014/main" val="4145178818"/>
                  </a:ext>
                </a:extLst>
              </a:tr>
              <a:tr h="269427">
                <a:tc>
                  <a:txBody>
                    <a:bodyPr/>
                    <a:lstStyle/>
                    <a:p>
                      <a:pPr algn="ctr"/>
                      <a:r>
                        <a:rPr lang="nb-NO" sz="1400" dirty="0"/>
                        <a:t>Agder</a:t>
                      </a:r>
                      <a:endParaRPr lang="nb-NO" sz="1400" b="1" dirty="0"/>
                    </a:p>
                  </a:txBody>
                  <a:tcPr anchor="ctr"/>
                </a:tc>
                <a:tc>
                  <a:txBody>
                    <a:bodyPr/>
                    <a:lstStyle/>
                    <a:p>
                      <a:pPr algn="ctr"/>
                      <a:r>
                        <a:rPr lang="nb-NO" sz="1400" dirty="0"/>
                        <a:t>73,6</a:t>
                      </a:r>
                      <a:endParaRPr lang="nb-NO" sz="1400" b="1" dirty="0"/>
                    </a:p>
                  </a:txBody>
                  <a:tcPr anchor="ctr"/>
                </a:tc>
                <a:tc>
                  <a:txBody>
                    <a:bodyPr/>
                    <a:lstStyle/>
                    <a:p>
                      <a:pPr algn="ctr"/>
                      <a:r>
                        <a:rPr lang="nb-NO" sz="1400" dirty="0"/>
                        <a:t>76,6</a:t>
                      </a:r>
                      <a:endParaRPr lang="nb-NO" sz="1400" b="1" dirty="0"/>
                    </a:p>
                  </a:txBody>
                  <a:tcPr anchor="ctr"/>
                </a:tc>
                <a:tc>
                  <a:txBody>
                    <a:bodyPr/>
                    <a:lstStyle/>
                    <a:p>
                      <a:pPr algn="ctr"/>
                      <a:r>
                        <a:rPr lang="nb-NO" sz="1400" dirty="0"/>
                        <a:t>70,6</a:t>
                      </a:r>
                      <a:endParaRPr lang="nb-NO" sz="1400" b="1" dirty="0"/>
                    </a:p>
                  </a:txBody>
                  <a:tcPr anchor="ctr"/>
                </a:tc>
                <a:extLst>
                  <a:ext uri="{0D108BD9-81ED-4DB2-BD59-A6C34878D82A}">
                    <a16:rowId xmlns:a16="http://schemas.microsoft.com/office/drawing/2014/main" val="2028139095"/>
                  </a:ext>
                </a:extLst>
              </a:tr>
              <a:tr h="269427">
                <a:tc>
                  <a:txBody>
                    <a:bodyPr/>
                    <a:lstStyle/>
                    <a:p>
                      <a:pPr algn="ctr"/>
                      <a:r>
                        <a:rPr lang="nb-NO" sz="1400" dirty="0"/>
                        <a:t>Norge</a:t>
                      </a:r>
                      <a:endParaRPr lang="nb-NO" sz="1400" b="1" dirty="0"/>
                    </a:p>
                  </a:txBody>
                  <a:tcPr anchor="ctr"/>
                </a:tc>
                <a:tc>
                  <a:txBody>
                    <a:bodyPr/>
                    <a:lstStyle/>
                    <a:p>
                      <a:pPr algn="ctr"/>
                      <a:r>
                        <a:rPr lang="nb-NO" sz="1400" dirty="0"/>
                        <a:t>77,2</a:t>
                      </a:r>
                      <a:endParaRPr lang="nb-NO" sz="1400" b="1" dirty="0"/>
                    </a:p>
                  </a:txBody>
                  <a:tcPr anchor="ctr"/>
                </a:tc>
                <a:tc>
                  <a:txBody>
                    <a:bodyPr/>
                    <a:lstStyle/>
                    <a:p>
                      <a:pPr algn="ctr"/>
                      <a:r>
                        <a:rPr lang="nb-NO" sz="1400" dirty="0"/>
                        <a:t>79,5</a:t>
                      </a:r>
                      <a:endParaRPr lang="nb-NO" sz="1400" b="1" dirty="0"/>
                    </a:p>
                  </a:txBody>
                  <a:tcPr anchor="ctr"/>
                </a:tc>
                <a:tc>
                  <a:txBody>
                    <a:bodyPr/>
                    <a:lstStyle/>
                    <a:p>
                      <a:pPr algn="ctr"/>
                      <a:r>
                        <a:rPr lang="nb-NO" sz="1400" dirty="0"/>
                        <a:t>74,8</a:t>
                      </a:r>
                      <a:endParaRPr lang="nb-NO" sz="1400" b="1" dirty="0"/>
                    </a:p>
                  </a:txBody>
                  <a:tcPr anchor="ctr"/>
                </a:tc>
                <a:extLst>
                  <a:ext uri="{0D108BD9-81ED-4DB2-BD59-A6C34878D82A}">
                    <a16:rowId xmlns:a16="http://schemas.microsoft.com/office/drawing/2014/main" val="768833302"/>
                  </a:ext>
                </a:extLst>
              </a:tr>
            </a:tbl>
          </a:graphicData>
        </a:graphic>
      </p:graphicFrame>
      <p:sp>
        <p:nvSpPr>
          <p:cNvPr id="8" name="TekstSylinder 7">
            <a:extLst>
              <a:ext uri="{FF2B5EF4-FFF2-40B4-BE49-F238E27FC236}">
                <a16:creationId xmlns:a16="http://schemas.microsoft.com/office/drawing/2014/main" id="{6AA3FE37-C265-96AA-8008-EE89CF86C0C3}"/>
              </a:ext>
            </a:extLst>
          </p:cNvPr>
          <p:cNvSpPr txBox="1"/>
          <p:nvPr/>
        </p:nvSpPr>
        <p:spPr>
          <a:xfrm>
            <a:off x="9594445" y="6223494"/>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pic>
        <p:nvPicPr>
          <p:cNvPr id="3" name="Bilde 2" descr="Et bilde som inneholder tekst, tall og kart. Kartet viser sysselsettingsandel i 2023 for alle Agder kommunene. Aldersgruppe 20-66 år.">
            <a:extLst>
              <a:ext uri="{FF2B5EF4-FFF2-40B4-BE49-F238E27FC236}">
                <a16:creationId xmlns:a16="http://schemas.microsoft.com/office/drawing/2014/main" id="{824151AD-A93E-657A-ED7E-0BCAA84C26E8}"/>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45897" y="160559"/>
            <a:ext cx="5543204" cy="5820130"/>
          </a:xfrm>
          <a:prstGeom prst="rect">
            <a:avLst/>
          </a:prstGeom>
        </p:spPr>
      </p:pic>
    </p:spTree>
    <p:extLst>
      <p:ext uri="{BB962C8B-B14F-4D97-AF65-F5344CB8AC3E}">
        <p14:creationId xmlns:p14="http://schemas.microsoft.com/office/powerpoint/2010/main" val="134869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Bilde 41" descr="Et bilde som viser de viktigste pendlingsrelasjonene for kommunen.">
            <a:extLst>
              <a:ext uri="{FF2B5EF4-FFF2-40B4-BE49-F238E27FC236}">
                <a16:creationId xmlns:a16="http://schemas.microsoft.com/office/drawing/2014/main" id="{E81CF973-47C5-81CD-469C-3CD4D46B2F43}"/>
              </a:ext>
            </a:extLst>
          </p:cNvPr>
          <p:cNvPicPr>
            <a:picLocks noChangeAspect="1"/>
          </p:cNvPicPr>
          <p:nvPr/>
        </p:nvPicPr>
        <p:blipFill>
          <a:blip r:embed="rId3"/>
          <a:stretch>
            <a:fillRect/>
          </a:stretch>
        </p:blipFill>
        <p:spPr>
          <a:xfrm>
            <a:off x="357244" y="2808709"/>
            <a:ext cx="4298506" cy="3200656"/>
          </a:xfrm>
          <a:prstGeom prst="rect">
            <a:avLst/>
          </a:prstGeom>
        </p:spPr>
      </p:pic>
      <p:sp>
        <p:nvSpPr>
          <p:cNvPr id="2" name="Tittel 1"/>
          <p:cNvSpPr>
            <a:spLocks noGrp="1"/>
          </p:cNvSpPr>
          <p:nvPr>
            <p:ph type="title"/>
          </p:nvPr>
        </p:nvSpPr>
        <p:spPr>
          <a:xfrm>
            <a:off x="450574" y="443797"/>
            <a:ext cx="5218706" cy="557044"/>
          </a:xfrm>
        </p:spPr>
        <p:txBody>
          <a:bodyPr/>
          <a:lstStyle/>
          <a:p>
            <a:pPr algn="ctr"/>
            <a:r>
              <a:rPr lang="nb-NO" dirty="0">
                <a:solidFill>
                  <a:schemeClr val="bg2">
                    <a:lumMod val="10000"/>
                  </a:schemeClr>
                </a:solidFill>
              </a:rPr>
              <a:t>Bo- og arbeidsmarkeder</a:t>
            </a:r>
          </a:p>
        </p:txBody>
      </p:sp>
      <p:sp>
        <p:nvSpPr>
          <p:cNvPr id="3" name="Plassholder for innhold 2"/>
          <p:cNvSpPr>
            <a:spLocks noGrp="1"/>
          </p:cNvSpPr>
          <p:nvPr>
            <p:ph idx="1"/>
          </p:nvPr>
        </p:nvSpPr>
        <p:spPr>
          <a:xfrm>
            <a:off x="527348" y="1189554"/>
            <a:ext cx="5818344" cy="1619154"/>
          </a:xfrm>
        </p:spPr>
        <p:txBody>
          <a:bodyPr>
            <a:noAutofit/>
          </a:bodyPr>
          <a:lstStyle/>
          <a:p>
            <a:r>
              <a:rPr lang="nb-NO" sz="2000" dirty="0"/>
              <a:t>Tvedestrand hører til Arendal bo- og arbeidsmarkedsregion, og 20 % av de sysselsatte i kommunen hadde arbeidssted i Arendal kommune per 4. kvartal 2023 (SSB). 	  50 % jobber i egen kommune.</a:t>
            </a:r>
          </a:p>
          <a:p>
            <a:endParaRPr lang="nb-NO" sz="2000" i="1" dirty="0"/>
          </a:p>
        </p:txBody>
      </p:sp>
      <p:sp>
        <p:nvSpPr>
          <p:cNvPr id="29" name="TekstSylinder 28"/>
          <p:cNvSpPr txBox="1"/>
          <p:nvPr/>
        </p:nvSpPr>
        <p:spPr>
          <a:xfrm>
            <a:off x="4505180" y="5133628"/>
            <a:ext cx="1793966" cy="646331"/>
          </a:xfrm>
          <a:prstGeom prst="rect">
            <a:avLst/>
          </a:prstGeom>
          <a:noFill/>
        </p:spPr>
        <p:txBody>
          <a:bodyPr wrap="square" rtlCol="0">
            <a:spAutoFit/>
          </a:bodyPr>
          <a:lstStyle/>
          <a:p>
            <a:pPr algn="l"/>
            <a:r>
              <a:rPr lang="nb-NO" sz="1200" dirty="0"/>
              <a:t>Kommunens viktigste pendlingsrelasjoner per 4. </a:t>
            </a:r>
            <a:r>
              <a:rPr lang="nb-NO" sz="1200" dirty="0" err="1"/>
              <a:t>kv</a:t>
            </a:r>
            <a:r>
              <a:rPr lang="nb-NO" sz="1200" dirty="0"/>
              <a:t> 2023 (SSB)</a:t>
            </a:r>
          </a:p>
        </p:txBody>
      </p:sp>
      <p:pic>
        <p:nvPicPr>
          <p:cNvPr id="2050" name="Picture 2" descr="Kart som viser bo- og arbeidsmarkedsregioner i Agder."/>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581670" y="2295"/>
            <a:ext cx="5594730" cy="6047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kstSylinder 3"/>
          <p:cNvSpPr txBox="1"/>
          <p:nvPr/>
        </p:nvSpPr>
        <p:spPr>
          <a:xfrm>
            <a:off x="10056997" y="307849"/>
            <a:ext cx="1725407"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t>Definisjon:</a:t>
            </a:r>
            <a:b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br>
            <a: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t>En region med felles markeder for arbeidskraft og arbeidsplasser, der innbyggerne ikke trenger å flytte eller bruke vesentlig tid på å reise for å arbe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31" name="Gruppe 30">
            <a:extLst>
              <a:ext uri="{C183D7F6-B498-43B3-948B-1728B52AA6E4}">
                <adec:decorative xmlns:adec="http://schemas.microsoft.com/office/drawing/2017/decorative" val="1"/>
              </a:ext>
            </a:extLst>
          </p:cNvPr>
          <p:cNvGrpSpPr/>
          <p:nvPr/>
        </p:nvGrpSpPr>
        <p:grpSpPr>
          <a:xfrm>
            <a:off x="7215267" y="1071612"/>
            <a:ext cx="4259072" cy="4879626"/>
            <a:chOff x="6436923" y="1263224"/>
            <a:chExt cx="5163787" cy="5304513"/>
          </a:xfrm>
        </p:grpSpPr>
        <p:sp>
          <p:nvSpPr>
            <p:cNvPr id="7" name="Høyrepil med hakk 6"/>
            <p:cNvSpPr/>
            <p:nvPr/>
          </p:nvSpPr>
          <p:spPr>
            <a:xfrm rot="4038743">
              <a:off x="10112957" y="4231375"/>
              <a:ext cx="933116" cy="1510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Høyrepil med hakk 7"/>
            <p:cNvSpPr/>
            <p:nvPr/>
          </p:nvSpPr>
          <p:spPr>
            <a:xfrm rot="7101135">
              <a:off x="10475041" y="4019452"/>
              <a:ext cx="1384866" cy="167254"/>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Høyrepil med hakk 8"/>
            <p:cNvSpPr/>
            <p:nvPr/>
          </p:nvSpPr>
          <p:spPr>
            <a:xfrm rot="4528569">
              <a:off x="8347635" y="5067284"/>
              <a:ext cx="1385968" cy="228413"/>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Høyrepil med hakk 9"/>
            <p:cNvSpPr/>
            <p:nvPr/>
          </p:nvSpPr>
          <p:spPr>
            <a:xfrm rot="7090215">
              <a:off x="9144669" y="5367894"/>
              <a:ext cx="787964" cy="193639"/>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Høyrepil med hakk 10"/>
            <p:cNvSpPr/>
            <p:nvPr/>
          </p:nvSpPr>
          <p:spPr>
            <a:xfrm rot="9347881">
              <a:off x="9366477" y="5700049"/>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Venstrebuet pil 11"/>
            <p:cNvSpPr/>
            <p:nvPr/>
          </p:nvSpPr>
          <p:spPr>
            <a:xfrm rot="3401155">
              <a:off x="9761202" y="5250782"/>
              <a:ext cx="373777" cy="1306023"/>
            </a:xfrm>
            <a:prstGeom prst="curvedLef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Oppoverbuet pil 12"/>
            <p:cNvSpPr/>
            <p:nvPr/>
          </p:nvSpPr>
          <p:spPr>
            <a:xfrm rot="20682173">
              <a:off x="8288360" y="6203943"/>
              <a:ext cx="1107766" cy="363794"/>
            </a:xfrm>
            <a:prstGeom prst="curvedUp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 name="Høyrepil med hakk 13"/>
            <p:cNvSpPr/>
            <p:nvPr/>
          </p:nvSpPr>
          <p:spPr>
            <a:xfrm rot="19529789">
              <a:off x="8666370" y="6050153"/>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 name="Høyrepil med hakk 14"/>
            <p:cNvSpPr/>
            <p:nvPr/>
          </p:nvSpPr>
          <p:spPr>
            <a:xfrm rot="1069916">
              <a:off x="8414705" y="5688455"/>
              <a:ext cx="539269"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 name="Høyrepil med hakk 15"/>
            <p:cNvSpPr/>
            <p:nvPr/>
          </p:nvSpPr>
          <p:spPr>
            <a:xfrm rot="2676594">
              <a:off x="10214903" y="4595499"/>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 name="Høyrepil med hakk 16"/>
            <p:cNvSpPr/>
            <p:nvPr/>
          </p:nvSpPr>
          <p:spPr>
            <a:xfrm rot="8077020">
              <a:off x="10754099" y="4554580"/>
              <a:ext cx="621599" cy="194032"/>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Høyrepil med hakk 17"/>
            <p:cNvSpPr/>
            <p:nvPr/>
          </p:nvSpPr>
          <p:spPr>
            <a:xfrm rot="18982719">
              <a:off x="10272281" y="5055565"/>
              <a:ext cx="467308" cy="186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Høyrepil med hakk 18"/>
            <p:cNvSpPr/>
            <p:nvPr/>
          </p:nvSpPr>
          <p:spPr>
            <a:xfrm rot="5637423">
              <a:off x="8666369" y="3840697"/>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Høyrepil med hakk 19"/>
            <p:cNvSpPr/>
            <p:nvPr/>
          </p:nvSpPr>
          <p:spPr>
            <a:xfrm rot="6702586">
              <a:off x="7094616" y="5257526"/>
              <a:ext cx="896162" cy="20941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Høyrepil med hakk 20"/>
            <p:cNvSpPr/>
            <p:nvPr/>
          </p:nvSpPr>
          <p:spPr>
            <a:xfrm rot="20645713">
              <a:off x="6553360" y="5765001"/>
              <a:ext cx="735767" cy="185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 name="Høyrepil med hakk 21"/>
            <p:cNvSpPr/>
            <p:nvPr/>
          </p:nvSpPr>
          <p:spPr>
            <a:xfrm rot="14633931">
              <a:off x="8750739" y="4581899"/>
              <a:ext cx="645303" cy="14397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3" name="Høyrepil med hakk 22"/>
            <p:cNvSpPr/>
            <p:nvPr/>
          </p:nvSpPr>
          <p:spPr>
            <a:xfrm rot="1866321">
              <a:off x="7890688" y="5397009"/>
              <a:ext cx="1330249" cy="15622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 name="Høyrepil med hakk 23"/>
            <p:cNvSpPr/>
            <p:nvPr/>
          </p:nvSpPr>
          <p:spPr>
            <a:xfrm rot="12873778">
              <a:off x="7327773" y="5925601"/>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Høyrepil med hakk 24"/>
            <p:cNvSpPr/>
            <p:nvPr/>
          </p:nvSpPr>
          <p:spPr>
            <a:xfrm rot="8119506">
              <a:off x="6436923" y="4804474"/>
              <a:ext cx="896162" cy="1264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 name="Høyrepil med hakk 25"/>
            <p:cNvSpPr/>
            <p:nvPr/>
          </p:nvSpPr>
          <p:spPr>
            <a:xfrm rot="21212387">
              <a:off x="8043682" y="4341939"/>
              <a:ext cx="789364" cy="8121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Pil opp og ned 26"/>
            <p:cNvSpPr/>
            <p:nvPr/>
          </p:nvSpPr>
          <p:spPr>
            <a:xfrm rot="20226368">
              <a:off x="8244829" y="1263224"/>
              <a:ext cx="143302" cy="584756"/>
            </a:xfrm>
            <a:prstGeom prst="upDown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 name="Høyrepil med hakk 29"/>
            <p:cNvSpPr/>
            <p:nvPr/>
          </p:nvSpPr>
          <p:spPr>
            <a:xfrm rot="3477990">
              <a:off x="11241414" y="3604434"/>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32" name="TekstSylinder 31"/>
          <p:cNvSpPr txBox="1"/>
          <p:nvPr/>
        </p:nvSpPr>
        <p:spPr>
          <a:xfrm>
            <a:off x="9474298" y="5705017"/>
            <a:ext cx="124313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1 Kristiansand</a:t>
            </a:r>
          </a:p>
        </p:txBody>
      </p:sp>
      <p:sp>
        <p:nvSpPr>
          <p:cNvPr id="5" name="TekstSylinder 4"/>
          <p:cNvSpPr txBox="1"/>
          <p:nvPr/>
        </p:nvSpPr>
        <p:spPr>
          <a:xfrm>
            <a:off x="8369862" y="3000777"/>
            <a:ext cx="1451156"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4 Evje og Hornnes</a:t>
            </a:r>
          </a:p>
        </p:txBody>
      </p:sp>
      <p:sp>
        <p:nvSpPr>
          <p:cNvPr id="33" name="TekstSylinder 32"/>
          <p:cNvSpPr txBox="1"/>
          <p:nvPr/>
        </p:nvSpPr>
        <p:spPr>
          <a:xfrm>
            <a:off x="6817093" y="3856817"/>
            <a:ext cx="1252619"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2 Flekkefjord</a:t>
            </a:r>
          </a:p>
        </p:txBody>
      </p:sp>
      <p:sp>
        <p:nvSpPr>
          <p:cNvPr id="34" name="TekstSylinder 33"/>
          <p:cNvSpPr txBox="1"/>
          <p:nvPr/>
        </p:nvSpPr>
        <p:spPr>
          <a:xfrm>
            <a:off x="7719240" y="4529565"/>
            <a:ext cx="973773"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6 Lyngdal</a:t>
            </a:r>
          </a:p>
        </p:txBody>
      </p:sp>
      <p:sp>
        <p:nvSpPr>
          <p:cNvPr id="35" name="TekstSylinder 34"/>
          <p:cNvSpPr txBox="1"/>
          <p:nvPr/>
        </p:nvSpPr>
        <p:spPr>
          <a:xfrm>
            <a:off x="10683294" y="4608979"/>
            <a:ext cx="102028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0 Arendal</a:t>
            </a:r>
          </a:p>
        </p:txBody>
      </p:sp>
      <p:sp>
        <p:nvSpPr>
          <p:cNvPr id="36" name="TekstSylinder 35"/>
          <p:cNvSpPr txBox="1"/>
          <p:nvPr/>
        </p:nvSpPr>
        <p:spPr>
          <a:xfrm>
            <a:off x="11290172" y="2605775"/>
            <a:ext cx="799364"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39 Risør</a:t>
            </a:r>
          </a:p>
        </p:txBody>
      </p:sp>
      <p:sp>
        <p:nvSpPr>
          <p:cNvPr id="37" name="TekstSylinder 36"/>
          <p:cNvSpPr txBox="1"/>
          <p:nvPr/>
        </p:nvSpPr>
        <p:spPr>
          <a:xfrm>
            <a:off x="9960518" y="2918490"/>
            <a:ext cx="772890"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3 Åmli</a:t>
            </a:r>
          </a:p>
        </p:txBody>
      </p:sp>
      <p:sp>
        <p:nvSpPr>
          <p:cNvPr id="38" name="TekstSylinder 37"/>
          <p:cNvSpPr txBox="1"/>
          <p:nvPr/>
        </p:nvSpPr>
        <p:spPr>
          <a:xfrm>
            <a:off x="8797036" y="1132205"/>
            <a:ext cx="1023982"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5 Bykle</a:t>
            </a:r>
          </a:p>
        </p:txBody>
      </p:sp>
      <p:sp>
        <p:nvSpPr>
          <p:cNvPr id="39" name="TekstSylinder 38"/>
          <p:cNvSpPr txBox="1"/>
          <p:nvPr/>
        </p:nvSpPr>
        <p:spPr>
          <a:xfrm>
            <a:off x="7094016" y="2665442"/>
            <a:ext cx="90582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7 Sirdal</a:t>
            </a:r>
          </a:p>
        </p:txBody>
      </p:sp>
      <p:sp>
        <p:nvSpPr>
          <p:cNvPr id="28" name="TekstSylinder 27"/>
          <p:cNvSpPr txBox="1"/>
          <p:nvPr/>
        </p:nvSpPr>
        <p:spPr>
          <a:xfrm>
            <a:off x="10329863" y="6213098"/>
            <a:ext cx="1630696" cy="276999"/>
          </a:xfrm>
          <a:prstGeom prst="rect">
            <a:avLst/>
          </a:prstGeom>
          <a:noFill/>
        </p:spPr>
        <p:txBody>
          <a:bodyPr wrap="square" rtlCol="0">
            <a:spAutoFit/>
          </a:bodyPr>
          <a:lstStyle/>
          <a:p>
            <a:r>
              <a:rPr lang="nb-NO" sz="1200" dirty="0"/>
              <a:t>Kilde: TØI 1713/2019</a:t>
            </a:r>
          </a:p>
        </p:txBody>
      </p:sp>
      <p:sp>
        <p:nvSpPr>
          <p:cNvPr id="6" name="TekstSylinder 5">
            <a:extLst>
              <a:ext uri="{FF2B5EF4-FFF2-40B4-BE49-F238E27FC236}">
                <a16:creationId xmlns:a16="http://schemas.microsoft.com/office/drawing/2014/main" id="{398266D8-7163-451C-8819-F9EB656D47E9}"/>
              </a:ext>
            </a:extLst>
          </p:cNvPr>
          <p:cNvSpPr txBox="1"/>
          <p:nvPr/>
        </p:nvSpPr>
        <p:spPr>
          <a:xfrm>
            <a:off x="8281141" y="6135280"/>
            <a:ext cx="2067793" cy="369332"/>
          </a:xfrm>
          <a:prstGeom prst="rect">
            <a:avLst/>
          </a:prstGeom>
          <a:noFill/>
        </p:spPr>
        <p:txBody>
          <a:bodyPr wrap="square" rtlCol="0">
            <a:spAutoFit/>
          </a:bodyPr>
          <a:lstStyle/>
          <a:p>
            <a:pPr algn="l"/>
            <a:r>
              <a:rPr lang="nb-NO" dirty="0">
                <a:hlinkClick r:id="rId5"/>
              </a:rPr>
              <a:t>Rapport pendling</a:t>
            </a:r>
            <a:endParaRPr lang="nb-NO" dirty="0"/>
          </a:p>
        </p:txBody>
      </p:sp>
    </p:spTree>
    <p:extLst>
      <p:ext uri="{BB962C8B-B14F-4D97-AF65-F5344CB8AC3E}">
        <p14:creationId xmlns:p14="http://schemas.microsoft.com/office/powerpoint/2010/main" val="315677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83098" y="346758"/>
            <a:ext cx="10153651" cy="685606"/>
          </a:xfrm>
        </p:spPr>
        <p:txBody>
          <a:bodyPr/>
          <a:lstStyle/>
          <a:p>
            <a:r>
              <a:rPr lang="nb-NO" dirty="0"/>
              <a:t>Sektorfordeling og ansattutvikling</a:t>
            </a:r>
          </a:p>
        </p:txBody>
      </p:sp>
      <p:sp>
        <p:nvSpPr>
          <p:cNvPr id="10" name="TekstSylinder 9"/>
          <p:cNvSpPr txBox="1"/>
          <p:nvPr/>
        </p:nvSpPr>
        <p:spPr>
          <a:xfrm>
            <a:off x="637117" y="4782894"/>
            <a:ext cx="5865341" cy="830997"/>
          </a:xfrm>
          <a:prstGeom prst="rect">
            <a:avLst/>
          </a:prstGeom>
          <a:noFill/>
        </p:spPr>
        <p:txBody>
          <a:bodyPr wrap="square" rtlCol="0">
            <a:spAutoFit/>
          </a:bodyPr>
          <a:lstStyle/>
          <a:p>
            <a:pPr algn="l"/>
            <a:r>
              <a:rPr lang="nb-NO" sz="1600" dirty="0"/>
              <a:t>Tvedestrand har en lavere andel ansatte i privat sektor enn snittet for Agder og Norge. Antall ansatte i privat sektor har blitt redusert med 150 personer fra 2022 til 2023.</a:t>
            </a:r>
          </a:p>
        </p:txBody>
      </p:sp>
      <p:graphicFrame>
        <p:nvGraphicFramePr>
          <p:cNvPr id="8" name="Tabell 7">
            <a:extLst>
              <a:ext uri="{FF2B5EF4-FFF2-40B4-BE49-F238E27FC236}">
                <a16:creationId xmlns:a16="http://schemas.microsoft.com/office/drawing/2014/main" id="{A2EA6BEA-40CE-FEB6-297B-67375B9B5C12}"/>
              </a:ext>
            </a:extLst>
          </p:cNvPr>
          <p:cNvGraphicFramePr>
            <a:graphicFrameLocks noGrp="1"/>
          </p:cNvGraphicFramePr>
          <p:nvPr>
            <p:extLst>
              <p:ext uri="{D42A27DB-BD31-4B8C-83A1-F6EECF244321}">
                <p14:modId xmlns:p14="http://schemas.microsoft.com/office/powerpoint/2010/main" val="376588782"/>
              </p:ext>
            </p:extLst>
          </p:nvPr>
        </p:nvGraphicFramePr>
        <p:xfrm>
          <a:off x="7596982" y="4510817"/>
          <a:ext cx="4433093" cy="1375149"/>
        </p:xfrm>
        <a:graphic>
          <a:graphicData uri="http://schemas.openxmlformats.org/drawingml/2006/table">
            <a:tbl>
              <a:tblPr firstRow="1"/>
              <a:tblGrid>
                <a:gridCol w="1457806">
                  <a:extLst>
                    <a:ext uri="{9D8B030D-6E8A-4147-A177-3AD203B41FA5}">
                      <a16:colId xmlns:a16="http://schemas.microsoft.com/office/drawing/2014/main" val="3932466336"/>
                    </a:ext>
                  </a:extLst>
                </a:gridCol>
                <a:gridCol w="613812">
                  <a:extLst>
                    <a:ext uri="{9D8B030D-6E8A-4147-A177-3AD203B41FA5}">
                      <a16:colId xmlns:a16="http://schemas.microsoft.com/office/drawing/2014/main" val="3515907419"/>
                    </a:ext>
                  </a:extLst>
                </a:gridCol>
                <a:gridCol w="690539">
                  <a:extLst>
                    <a:ext uri="{9D8B030D-6E8A-4147-A177-3AD203B41FA5}">
                      <a16:colId xmlns:a16="http://schemas.microsoft.com/office/drawing/2014/main" val="1296418327"/>
                    </a:ext>
                  </a:extLst>
                </a:gridCol>
                <a:gridCol w="716116">
                  <a:extLst>
                    <a:ext uri="{9D8B030D-6E8A-4147-A177-3AD203B41FA5}">
                      <a16:colId xmlns:a16="http://schemas.microsoft.com/office/drawing/2014/main" val="3909120981"/>
                    </a:ext>
                  </a:extLst>
                </a:gridCol>
                <a:gridCol w="954820">
                  <a:extLst>
                    <a:ext uri="{9D8B030D-6E8A-4147-A177-3AD203B41FA5}">
                      <a16:colId xmlns:a16="http://schemas.microsoft.com/office/drawing/2014/main" val="1352810705"/>
                    </a:ext>
                  </a:extLst>
                </a:gridCol>
              </a:tblGrid>
              <a:tr h="176804">
                <a:tc gridSpan="3">
                  <a:txBody>
                    <a:bodyPr/>
                    <a:lstStyle/>
                    <a:p>
                      <a:pPr algn="ctr" fontAlgn="b"/>
                      <a:r>
                        <a:rPr lang="nb-NO" sz="1000" b="1" i="0" u="none" strike="noStrike" dirty="0">
                          <a:solidFill>
                            <a:srgbClr val="FFFFFF"/>
                          </a:solidFill>
                          <a:effectLst/>
                          <a:highlight>
                            <a:srgbClr val="39575B"/>
                          </a:highlight>
                          <a:latin typeface="Arial" panose="020B0604020202020204" pitchFamily="34" charset="0"/>
                        </a:rPr>
                        <a:t>Tvedestran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hMerge="1">
                  <a:txBody>
                    <a:bodyPr/>
                    <a:lstStyle/>
                    <a:p>
                      <a:endParaRPr lang="nb-NO"/>
                    </a:p>
                  </a:txBody>
                  <a:tcPr/>
                </a:tc>
                <a:tc hMerge="1">
                  <a:txBody>
                    <a:bodyPr/>
                    <a:lstStyle/>
                    <a:p>
                      <a:endParaRPr lang="nb-NO"/>
                    </a:p>
                  </a:txBody>
                  <a:tcPr/>
                </a:tc>
                <a:tc>
                  <a:txBody>
                    <a:bodyPr/>
                    <a:lstStyle/>
                    <a:p>
                      <a:pPr algn="l" fontAlgn="b"/>
                      <a:r>
                        <a:rPr lang="nb-NO" sz="1000" b="0" i="0" u="none" strike="noStrike" dirty="0">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extLst>
                  <a:ext uri="{0D108BD9-81ED-4DB2-BD59-A6C34878D82A}">
                    <a16:rowId xmlns:a16="http://schemas.microsoft.com/office/drawing/2014/main" val="3946568226"/>
                  </a:ext>
                </a:extLst>
              </a:tr>
              <a:tr h="176804">
                <a:tc>
                  <a:txBody>
                    <a:bodyPr/>
                    <a:lstStyle/>
                    <a:p>
                      <a:pPr algn="l" fontAlgn="b"/>
                      <a:r>
                        <a:rPr lang="nb-NO" sz="1000" b="1" i="0" u="none" strike="noStrike" dirty="0">
                          <a:solidFill>
                            <a:srgbClr val="000000"/>
                          </a:solidFill>
                          <a:effectLst/>
                          <a:latin typeface="Arial" panose="020B0604020202020204" pitchFamily="34" charset="0"/>
                        </a:rPr>
                        <a:t>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tal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de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dirty="0">
                          <a:solidFill>
                            <a:srgbClr val="000000"/>
                          </a:solidFill>
                          <a:effectLst/>
                          <a:latin typeface="Arial" panose="020B0604020202020204" pitchFamily="34" charset="0"/>
                        </a:rPr>
                        <a:t>Agd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nb-NO" sz="1000" b="1" i="0" u="none" strike="noStrike" dirty="0">
                          <a:solidFill>
                            <a:srgbClr val="000000"/>
                          </a:solidFill>
                          <a:effectLst/>
                          <a:latin typeface="Arial" panose="020B0604020202020204" pitchFamily="34" charset="0"/>
                        </a:rPr>
                        <a:t>Norg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67850964"/>
                  </a:ext>
                </a:extLst>
              </a:tr>
              <a:tr h="176804">
                <a:tc>
                  <a:txBody>
                    <a:bodyPr/>
                    <a:lstStyle/>
                    <a:p>
                      <a:pPr algn="l" fontAlgn="b"/>
                      <a:r>
                        <a:rPr lang="nb-NO" sz="1000" b="0" i="0" u="none" strike="noStrike" dirty="0">
                          <a:solidFill>
                            <a:srgbClr val="000000"/>
                          </a:solidFill>
                          <a:effectLst/>
                          <a:latin typeface="Arial" panose="020B0604020202020204" pitchFamily="34" charset="0"/>
                        </a:rPr>
                        <a:t>Offentlige eide foreta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3,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4,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63915250"/>
                  </a:ext>
                </a:extLst>
              </a:tr>
              <a:tr h="291726">
                <a:tc>
                  <a:txBody>
                    <a:bodyPr/>
                    <a:lstStyle/>
                    <a:p>
                      <a:pPr algn="l" fontAlgn="b"/>
                      <a:r>
                        <a:rPr lang="nb-NO" sz="1000" b="0" i="0" u="none" strike="noStrike" dirty="0">
                          <a:solidFill>
                            <a:srgbClr val="000000"/>
                          </a:solidFill>
                          <a:effectLst/>
                          <a:latin typeface="Arial" panose="020B0604020202020204" pitchFamily="34" charset="0"/>
                        </a:rPr>
                        <a:t>Fylkes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1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6,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11401487"/>
                  </a:ext>
                </a:extLst>
              </a:tr>
              <a:tr h="176804">
                <a:tc>
                  <a:txBody>
                    <a:bodyPr/>
                    <a:lstStyle/>
                    <a:p>
                      <a:pPr algn="l" fontAlgn="b"/>
                      <a:r>
                        <a:rPr lang="nb-NO" sz="1000" b="0" i="0" u="none" strike="noStrike" dirty="0">
                          <a:solidFill>
                            <a:srgbClr val="000000"/>
                          </a:solidFill>
                          <a:effectLst/>
                          <a:latin typeface="Arial" panose="020B0604020202020204" pitchFamily="34" charset="0"/>
                        </a:rPr>
                        <a:t>Statsforvaltninge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9,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95082826"/>
                  </a:ext>
                </a:extLst>
              </a:tr>
              <a:tr h="176804">
                <a:tc>
                  <a:txBody>
                    <a:bodyPr/>
                    <a:lstStyle/>
                    <a:p>
                      <a:pPr algn="l" fontAlgn="b"/>
                      <a:r>
                        <a:rPr lang="nb-NO" sz="1000" b="0" i="0" u="none" strike="noStrike">
                          <a:solidFill>
                            <a:srgbClr val="000000"/>
                          </a:solidFill>
                          <a:effectLst/>
                          <a:latin typeface="Arial" panose="020B0604020202020204" pitchFamily="34" charset="0"/>
                        </a:rPr>
                        <a:t>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7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30,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2,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8,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67141920"/>
                  </a:ext>
                </a:extLst>
              </a:tr>
              <a:tr h="176804">
                <a:tc>
                  <a:txBody>
                    <a:bodyPr/>
                    <a:lstStyle/>
                    <a:p>
                      <a:pPr algn="l" fontAlgn="b"/>
                      <a:r>
                        <a:rPr lang="nb-NO" sz="1000" b="0" i="0" u="none" strike="noStrike" dirty="0">
                          <a:solidFill>
                            <a:srgbClr val="000000"/>
                          </a:solidFill>
                          <a:effectLst/>
                          <a:latin typeface="Arial" panose="020B0604020202020204" pitchFamily="34" charset="0"/>
                        </a:rPr>
                        <a:t>Privat 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3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56,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63,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dirty="0">
                          <a:solidFill>
                            <a:srgbClr val="000000"/>
                          </a:solidFill>
                          <a:effectLst/>
                          <a:latin typeface="Arial" panose="020B0604020202020204" pitchFamily="34" charset="0"/>
                        </a:rPr>
                        <a:t>64,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8188553"/>
                  </a:ext>
                </a:extLst>
              </a:tr>
            </a:tbl>
          </a:graphicData>
        </a:graphic>
      </p:graphicFrame>
      <p:graphicFrame>
        <p:nvGraphicFramePr>
          <p:cNvPr id="5" name="Diagram 4" descr="Stolpediagram som viser antall sysselsatte per sektor, 4. kvartal (SSB tabell 13472). Tidsserie.">
            <a:extLst>
              <a:ext uri="{FF2B5EF4-FFF2-40B4-BE49-F238E27FC236}">
                <a16:creationId xmlns:a16="http://schemas.microsoft.com/office/drawing/2014/main" id="{900796C7-9568-AA7D-48B1-D162673FAB3E}"/>
              </a:ext>
            </a:extLst>
          </p:cNvPr>
          <p:cNvGraphicFramePr>
            <a:graphicFrameLocks/>
          </p:cNvGraphicFramePr>
          <p:nvPr>
            <p:extLst>
              <p:ext uri="{D42A27DB-BD31-4B8C-83A1-F6EECF244321}">
                <p14:modId xmlns:p14="http://schemas.microsoft.com/office/powerpoint/2010/main" val="3264971704"/>
              </p:ext>
            </p:extLst>
          </p:nvPr>
        </p:nvGraphicFramePr>
        <p:xfrm>
          <a:off x="637117" y="1405667"/>
          <a:ext cx="6115050" cy="31051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Diagram 5" descr="Kakediagram som viser andel sysselsatte per sektor, 4. kvartal (SSB, tabell 13472).">
            <a:extLst>
              <a:ext uri="{FF2B5EF4-FFF2-40B4-BE49-F238E27FC236}">
                <a16:creationId xmlns:a16="http://schemas.microsoft.com/office/drawing/2014/main" id="{E5C71C2E-AF53-CAD5-0770-CF80592B48C1}"/>
              </a:ext>
            </a:extLst>
          </p:cNvPr>
          <p:cNvGraphicFramePr>
            <a:graphicFrameLocks/>
          </p:cNvGraphicFramePr>
          <p:nvPr>
            <p:extLst>
              <p:ext uri="{D42A27DB-BD31-4B8C-83A1-F6EECF244321}">
                <p14:modId xmlns:p14="http://schemas.microsoft.com/office/powerpoint/2010/main" val="4128089440"/>
              </p:ext>
            </p:extLst>
          </p:nvPr>
        </p:nvGraphicFramePr>
        <p:xfrm>
          <a:off x="6962775" y="1405667"/>
          <a:ext cx="5229225" cy="31051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37931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heme/theme1.xml><?xml version="1.0" encoding="utf-8"?>
<a:theme xmlns:a="http://schemas.openxmlformats.org/drawingml/2006/main" name="Agder fylkeskommune PowerPointmal 16:9">
  <a:themeElements>
    <a:clrScheme name="Agder fylkeskommune 2">
      <a:dk1>
        <a:srgbClr val="000000"/>
      </a:dk1>
      <a:lt1>
        <a:srgbClr val="FFFFFF"/>
      </a:lt1>
      <a:dk2>
        <a:srgbClr val="5B4D46"/>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Mal powerpoint_Agder fylkeskommune V1" id="{7A9B48FA-C2C4-4C0B-8B9A-87FA183985C7}" vid="{F34505B9-8C1F-445E-8612-14AC7B5718C9}"/>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dbde4e59-9b61-48a0-a4d9-cce2922754f5">
      <Terms xmlns="http://schemas.microsoft.com/office/infopath/2007/PartnerControls"/>
    </lcf76f155ced4ddcb4097134ff3c332f>
    <TaxCatchAll xmlns="549b603a-3c19-46c1-8987-e792084663a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133478D57CB5A4BB798E31C0495E537" ma:contentTypeVersion="16" ma:contentTypeDescription="Create a new document." ma:contentTypeScope="" ma:versionID="282c15bfc62d13f0530c5969480c68ce">
  <xsd:schema xmlns:xsd="http://www.w3.org/2001/XMLSchema" xmlns:xs="http://www.w3.org/2001/XMLSchema" xmlns:p="http://schemas.microsoft.com/office/2006/metadata/properties" xmlns:ns2="dbde4e59-9b61-48a0-a4d9-cce2922754f5" xmlns:ns3="549b603a-3c19-46c1-8987-e792084663ae" targetNamespace="http://schemas.microsoft.com/office/2006/metadata/properties" ma:root="true" ma:fieldsID="88bf7f295763e8028f5c9699218bc082" ns2:_="" ns3:_="">
    <xsd:import namespace="dbde4e59-9b61-48a0-a4d9-cce2922754f5"/>
    <xsd:import namespace="549b603a-3c19-46c1-8987-e792084663a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bjectDetectorVersions" minOccurs="0"/>
                <xsd:element ref="ns2:MediaLengthInSeconds" minOccurs="0"/>
                <xsd:element ref="ns2:MediaServiceLocation" minOccurs="0"/>
                <xsd:element ref="ns2:MediaServiceSearchPropertie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de4e59-9b61-48a0-a4d9-cce2922754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6af8f8e-1e45-4bcb-8b90-291e597263f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9b603a-3c19-46c1-8987-e792084663ae"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634ea433-eab8-4bd2-a8c8-d5fae60f80a8}" ma:internalName="TaxCatchAll" ma:showField="CatchAllData" ma:web="549b603a-3c19-46c1-8987-e792084663a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2E84CB8-E3BC-4ED1-9892-48BFB2DA6766}">
  <ds:schemaRefs>
    <ds:schemaRef ds:uri="http://purl.org/dc/terms/"/>
    <ds:schemaRef ds:uri="http://schemas.microsoft.com/office/2006/metadata/properties"/>
    <ds:schemaRef ds:uri="http://schemas.microsoft.com/office/2006/documentManagement/types"/>
    <ds:schemaRef ds:uri="http://purl.org/dc/elements/1.1/"/>
    <ds:schemaRef ds:uri="dbde4e59-9b61-48a0-a4d9-cce2922754f5"/>
    <ds:schemaRef ds:uri="http://purl.org/dc/dcmitype/"/>
    <ds:schemaRef ds:uri="http://schemas.microsoft.com/office/infopath/2007/PartnerControls"/>
    <ds:schemaRef ds:uri="http://schemas.openxmlformats.org/package/2006/metadata/core-properties"/>
    <ds:schemaRef ds:uri="549b603a-3c19-46c1-8987-e792084663ae"/>
    <ds:schemaRef ds:uri="http://www.w3.org/XML/1998/namespace"/>
  </ds:schemaRefs>
</ds:datastoreItem>
</file>

<file path=customXml/itemProps2.xml><?xml version="1.0" encoding="utf-8"?>
<ds:datastoreItem xmlns:ds="http://schemas.openxmlformats.org/officeDocument/2006/customXml" ds:itemID="{34111FB6-CDEF-4AF1-BEE6-B359A2ADBB38}">
  <ds:schemaRefs>
    <ds:schemaRef ds:uri="http://schemas.microsoft.com/sharepoint/v3/contenttype/forms"/>
  </ds:schemaRefs>
</ds:datastoreItem>
</file>

<file path=customXml/itemProps3.xml><?xml version="1.0" encoding="utf-8"?>
<ds:datastoreItem xmlns:ds="http://schemas.openxmlformats.org/officeDocument/2006/customXml" ds:itemID="{622CB9D0-3EE5-4F9B-B9E2-962A5DE48C3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de4e59-9b61-48a0-a4d9-cce2922754f5"/>
    <ds:schemaRef ds:uri="549b603a-3c19-46c1-8987-e792084663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nalyseavdelingen i prosesser</Template>
  <TotalTime>10542</TotalTime>
  <Words>2731</Words>
  <Application>Microsoft Office PowerPoint</Application>
  <PresentationFormat>Widescreen</PresentationFormat>
  <Paragraphs>359</Paragraphs>
  <Slides>25</Slides>
  <Notes>21</Notes>
  <HiddenSlides>0</HiddenSlides>
  <MMClips>0</MMClips>
  <ScaleCrop>false</ScaleCrop>
  <HeadingPairs>
    <vt:vector size="6" baseType="variant">
      <vt:variant>
        <vt:lpstr>Brukte skrifter</vt:lpstr>
      </vt:variant>
      <vt:variant>
        <vt:i4>4</vt:i4>
      </vt:variant>
      <vt:variant>
        <vt:lpstr>Tema</vt:lpstr>
      </vt:variant>
      <vt:variant>
        <vt:i4>1</vt:i4>
      </vt:variant>
      <vt:variant>
        <vt:lpstr>Lysbildetitler</vt:lpstr>
      </vt:variant>
      <vt:variant>
        <vt:i4>25</vt:i4>
      </vt:variant>
    </vt:vector>
  </HeadingPairs>
  <TitlesOfParts>
    <vt:vector size="30" baseType="lpstr">
      <vt:lpstr>Arial</vt:lpstr>
      <vt:lpstr>Arial Black</vt:lpstr>
      <vt:lpstr>Calibri</vt:lpstr>
      <vt:lpstr>Wingdings</vt:lpstr>
      <vt:lpstr>Agder fylkeskommune PowerPointmal 16:9</vt:lpstr>
      <vt:lpstr>Tvedestrand</vt:lpstr>
      <vt:lpstr>Kjappe fakta om Tvedestrand kommune</vt:lpstr>
      <vt:lpstr>Befolkning og demografi</vt:lpstr>
      <vt:lpstr>Befolkningsutvikling</vt:lpstr>
      <vt:lpstr>Boligbygging  </vt:lpstr>
      <vt:lpstr>Næringsutvikling og samarbeid om nye arbeidsplasser</vt:lpstr>
      <vt:lpstr>Sysselsetting</vt:lpstr>
      <vt:lpstr>Bo- og arbeidsmarkeder</vt:lpstr>
      <vt:lpstr>Sektorfordeling og ansattutvikling</vt:lpstr>
      <vt:lpstr>Næringsstruktur – 4. kvartal 2023</vt:lpstr>
      <vt:lpstr>Levekår, likestilling, inkludering og mangfold</vt:lpstr>
      <vt:lpstr>Grunnskolepoeng</vt:lpstr>
      <vt:lpstr>Gjennomføring videregående opplæring</vt:lpstr>
      <vt:lpstr>Lærekontrakter kommunal og privat sektor</vt:lpstr>
      <vt:lpstr>Deltid kvinner 20-66 år</vt:lpstr>
      <vt:lpstr>Sysselsetting etter landbakgrunn</vt:lpstr>
      <vt:lpstr>Vedvarende lavinntekt</vt:lpstr>
      <vt:lpstr>Tannhelse</vt:lpstr>
      <vt:lpstr>Klima og miljø</vt:lpstr>
      <vt:lpstr>Klimagassutslipp – referansebaner </vt:lpstr>
      <vt:lpstr>Elektrifiseringsgrad per sektor</vt:lpstr>
      <vt:lpstr>Klimagassreduksjon i  </vt:lpstr>
      <vt:lpstr>Arealressurser</vt:lpstr>
      <vt:lpstr>Planlagt arealbruk</vt:lpstr>
      <vt:lpstr>Fritidsbebyggelse og eiere</vt:lpstr>
    </vt:vector>
  </TitlesOfParts>
  <Company>IKT-Agd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Lindaas, Gunnar Ogwyn</dc:creator>
  <cp:lastModifiedBy>Michaelsen, Børje</cp:lastModifiedBy>
  <cp:revision>235</cp:revision>
  <dcterms:created xsi:type="dcterms:W3CDTF">2021-09-13T19:20:02Z</dcterms:created>
  <dcterms:modified xsi:type="dcterms:W3CDTF">2024-12-16T09:3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33478D57CB5A4BB798E31C0495E537</vt:lpwstr>
  </property>
  <property fmtid="{D5CDD505-2E9C-101B-9397-08002B2CF9AE}" pid="3" name="MediaServiceImageTags">
    <vt:lpwstr/>
  </property>
</Properties>
</file>